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0" r:id="rId4"/>
    <p:sldMasterId id="2147483787" r:id="rId5"/>
  </p:sldMasterIdLst>
  <p:notesMasterIdLst>
    <p:notesMasterId r:id="rId26"/>
  </p:notesMasterIdLst>
  <p:handoutMasterIdLst>
    <p:handoutMasterId r:id="rId27"/>
  </p:handoutMasterIdLst>
  <p:sldIdLst>
    <p:sldId id="282" r:id="rId6"/>
    <p:sldId id="283" r:id="rId7"/>
    <p:sldId id="284" r:id="rId8"/>
    <p:sldId id="285" r:id="rId9"/>
    <p:sldId id="288" r:id="rId10"/>
    <p:sldId id="289" r:id="rId11"/>
    <p:sldId id="290" r:id="rId12"/>
    <p:sldId id="291" r:id="rId13"/>
    <p:sldId id="258" r:id="rId14"/>
    <p:sldId id="268" r:id="rId15"/>
    <p:sldId id="292" r:id="rId16"/>
    <p:sldId id="264" r:id="rId17"/>
    <p:sldId id="274" r:id="rId18"/>
    <p:sldId id="275" r:id="rId19"/>
    <p:sldId id="276" r:id="rId20"/>
    <p:sldId id="277" r:id="rId21"/>
    <p:sldId id="278" r:id="rId22"/>
    <p:sldId id="279" r:id="rId23"/>
    <p:sldId id="280" r:id="rId24"/>
    <p:sldId id="281" r:id="rId25"/>
  </p:sldIdLst>
  <p:sldSz cx="12192000" cy="6858000"/>
  <p:notesSz cx="6797675" cy="9926638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9F15492-F651-436F-B8DE-3AD1CA8D7116}">
          <p14:sldIdLst>
            <p14:sldId id="282"/>
            <p14:sldId id="283"/>
            <p14:sldId id="284"/>
            <p14:sldId id="285"/>
            <p14:sldId id="288"/>
            <p14:sldId id="289"/>
            <p14:sldId id="290"/>
            <p14:sldId id="291"/>
            <p14:sldId id="258"/>
            <p14:sldId id="268"/>
            <p14:sldId id="292"/>
            <p14:sldId id="264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B67D75-EA9A-3AA3-BF19-DC71CAA08FC7}" name="Jan Kronschnabel" initials="JK" userId="S::jan.kronschnabel@ifok.de::f46e64a4-0713-46d1-82ff-a7d85ef1651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E7F7"/>
    <a:srgbClr val="E6A2DE"/>
    <a:srgbClr val="438DEF"/>
    <a:srgbClr val="196B24"/>
    <a:srgbClr val="F6A100"/>
    <a:srgbClr val="C09CCC"/>
    <a:srgbClr val="F7AA18"/>
    <a:srgbClr val="48484A"/>
    <a:srgbClr val="1C75EC"/>
    <a:srgbClr val="CDEC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1F2EBB-3DAB-5546-A691-4E0630800238}" v="19" dt="2025-08-19T11:51:26.049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1348" autoAdjust="0"/>
    <p:restoredTop sz="94762"/>
  </p:normalViewPr>
  <p:slideViewPr>
    <p:cSldViewPr snapToGrid="0">
      <p:cViewPr varScale="1">
        <p:scale>
          <a:sx n="100" d="100"/>
          <a:sy n="100" d="100"/>
        </p:scale>
        <p:origin x="184" y="6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36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n Pirc" userId="43757fef-ef70-4c97-a7dd-75ad2fb52df6" providerId="ADAL" clId="{F77B1B1F-BB58-5535-AEC2-1FFF6BDD7717}"/>
    <pc:docChg chg="delSld modSld modSection">
      <pc:chgData name="Zan Pirc" userId="43757fef-ef70-4c97-a7dd-75ad2fb52df6" providerId="ADAL" clId="{F77B1B1F-BB58-5535-AEC2-1FFF6BDD7717}" dt="2025-08-19T12:51:25.231" v="11" actId="2696"/>
      <pc:docMkLst>
        <pc:docMk/>
      </pc:docMkLst>
      <pc:sldChg chg="del">
        <pc:chgData name="Zan Pirc" userId="43757fef-ef70-4c97-a7dd-75ad2fb52df6" providerId="ADAL" clId="{F77B1B1F-BB58-5535-AEC2-1FFF6BDD7717}" dt="2025-08-19T12:21:54.929" v="2" actId="2696"/>
        <pc:sldMkLst>
          <pc:docMk/>
          <pc:sldMk cId="2023531996" sldId="259"/>
        </pc:sldMkLst>
      </pc:sldChg>
      <pc:sldChg chg="del">
        <pc:chgData name="Zan Pirc" userId="43757fef-ef70-4c97-a7dd-75ad2fb52df6" providerId="ADAL" clId="{F77B1B1F-BB58-5535-AEC2-1FFF6BDD7717}" dt="2025-08-19T12:16:49.313" v="0" actId="2696"/>
        <pc:sldMkLst>
          <pc:docMk/>
          <pc:sldMk cId="1256755918" sldId="261"/>
        </pc:sldMkLst>
      </pc:sldChg>
      <pc:sldChg chg="del">
        <pc:chgData name="Zan Pirc" userId="43757fef-ef70-4c97-a7dd-75ad2fb52df6" providerId="ADAL" clId="{F77B1B1F-BB58-5535-AEC2-1FFF6BDD7717}" dt="2025-08-19T12:16:50.322" v="1" actId="2696"/>
        <pc:sldMkLst>
          <pc:docMk/>
          <pc:sldMk cId="2824936273" sldId="262"/>
        </pc:sldMkLst>
      </pc:sldChg>
      <pc:sldChg chg="del">
        <pc:chgData name="Zan Pirc" userId="43757fef-ef70-4c97-a7dd-75ad2fb52df6" providerId="ADAL" clId="{F77B1B1F-BB58-5535-AEC2-1FFF6BDD7717}" dt="2025-08-19T12:51:25.231" v="11" actId="2696"/>
        <pc:sldMkLst>
          <pc:docMk/>
          <pc:sldMk cId="563532832" sldId="266"/>
        </pc:sldMkLst>
      </pc:sldChg>
      <pc:sldChg chg="modNotesTx">
        <pc:chgData name="Zan Pirc" userId="43757fef-ef70-4c97-a7dd-75ad2fb52df6" providerId="ADAL" clId="{F77B1B1F-BB58-5535-AEC2-1FFF6BDD7717}" dt="2025-08-19T12:26:29.501" v="10" actId="20577"/>
        <pc:sldMkLst>
          <pc:docMk/>
          <pc:sldMk cId="1707578414" sldId="27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9.08.25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9.08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</a:t>
            </a:r>
            <a:r>
              <a:rPr lang="en-SI" dirty="0"/>
              <a:t>pproach-driving-val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9444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integration-pat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20954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articipation-options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4281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puris-</a:t>
            </a:r>
            <a:r>
              <a:rPr lang="en-GB" sz="1200" kern="1200" dirty="0" err="1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dcm</a:t>
            </a:r>
            <a:r>
              <a:rPr lang="en-GB" sz="1200" kern="1200" dirty="0">
                <a:solidFill>
                  <a:schemeClr val="tx1"/>
                </a:solidFill>
                <a:latin typeface="BMWGroupTN Condensed" pitchFamily="50" charset="0"/>
                <a:ea typeface="+mn-ea"/>
                <a:cs typeface="+mn-cs"/>
              </a:rPr>
              <a:t>-integrated-application</a:t>
            </a:r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31181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s</a:t>
            </a:r>
            <a:r>
              <a:rPr lang="en-SI" dirty="0"/>
              <a:t>ingle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76033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pplier-m</a:t>
            </a:r>
            <a:r>
              <a:rPr lang="en-SI" dirty="0"/>
              <a:t>ulti-customer-scenar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49187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s</a:t>
            </a:r>
            <a:r>
              <a:rPr lang="en-SI" dirty="0"/>
              <a:t>ulti-customer-scenario-part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10142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0114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upplier-m</a:t>
            </a:r>
            <a:r>
              <a:rPr lang="en-SI" dirty="0"/>
              <a:t>ulti-customer-scenario-part4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3011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s</a:t>
            </a:r>
            <a:r>
              <a:rPr lang="en-SI"/>
              <a:t>ingle-sourc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27955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-part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8747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upply-chain-condi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3449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stomer-m</a:t>
            </a:r>
            <a:r>
              <a:rPr lang="en-SI" dirty="0"/>
              <a:t>ulti-sourcing-part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030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</a:t>
            </a:r>
            <a:r>
              <a:rPr lang="en-SI" dirty="0"/>
              <a:t>otential-cost-re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79270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SI" dirty="0"/>
              <a:t>afety-stock-reduction</a:t>
            </a:r>
          </a:p>
          <a:p>
            <a:endParaRPr lang="en-S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46420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</a:t>
            </a:r>
            <a:r>
              <a:rPr lang="en-SI" dirty="0"/>
              <a:t>enefits-evalu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9908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</a:t>
            </a:r>
            <a:r>
              <a:rPr lang="en-SI" dirty="0"/>
              <a:t>ormal-ope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833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i</a:t>
            </a:r>
            <a:r>
              <a:rPr lang="en-SI" dirty="0"/>
              <a:t>solate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30328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</a:t>
            </a:r>
            <a:r>
              <a:rPr lang="en-SI" dirty="0"/>
              <a:t>idespread-bottlen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6644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</a:t>
            </a:r>
            <a:r>
              <a:rPr lang="en-SI" dirty="0"/>
              <a:t>ollaboration-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328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microsoft.com/office/2007/relationships/hdphoto" Target="../media/hdphoto3.wd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6018AD1-5638-4ECE-81A6-9F9246CC9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1"/>
            <a:ext cx="5356148" cy="43481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2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7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02" y="2024063"/>
            <a:ext cx="5356148" cy="4357687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1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02" y="2031437"/>
            <a:ext cx="5356149" cy="43503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11965" y="2024064"/>
            <a:ext cx="5356148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54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3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2" cy="43529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8D969C04-2A7D-4B5D-AA43-C5B3C1913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07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34D07AF1-C6DC-4B65-9F07-4114D5880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1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 + Tex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1948581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9BF8B-51C5-40DB-936E-C64CAA5E59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25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20F6B05-F6C7-4017-93C6-43B992F375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11888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1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2" y="744584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471" y="5628414"/>
            <a:ext cx="5016500" cy="66068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dirty="0"/>
            </a:lvl2pPr>
          </a:lstStyle>
          <a:p>
            <a:pPr lvl="0"/>
            <a:r>
              <a:rPr lang="de-DE"/>
              <a:t>Email, etc.</a:t>
            </a:r>
            <a:endParaRPr lang="en-US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1A4ACFE-6BD4-4203-93F5-2BC6BB884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55" y="5245285"/>
            <a:ext cx="5016500" cy="3074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cap="all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/>
            </a:lvl2pPr>
          </a:lstStyle>
          <a:p>
            <a:pPr lvl="0"/>
            <a:r>
              <a:rPr lang="de-DE"/>
              <a:t>NAME NAME</a:t>
            </a: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A98B87-0FEB-4DF1-97BA-85E6AD1B0A9B}"/>
              </a:ext>
            </a:extLst>
          </p:cNvPr>
          <p:cNvGrpSpPr/>
          <p:nvPr userDrawn="1"/>
        </p:nvGrpSpPr>
        <p:grpSpPr>
          <a:xfrm>
            <a:off x="489218" y="2734881"/>
            <a:ext cx="1953637" cy="2040357"/>
            <a:chOff x="3200612" y="2798956"/>
            <a:chExt cx="1953637" cy="2040357"/>
          </a:xfrm>
        </p:grpSpPr>
        <p:pic>
          <p:nvPicPr>
            <p:cNvPr id="11" name="Grafik 4">
              <a:extLst>
                <a:ext uri="{FF2B5EF4-FFF2-40B4-BE49-F238E27FC236}">
                  <a16:creationId xmlns:a16="http://schemas.microsoft.com/office/drawing/2014/main" id="{99B1C588-287E-46C3-81EA-E9E3824E5F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l="6679" t="6603" r="7084" b="7000"/>
            <a:stretch/>
          </p:blipFill>
          <p:spPr>
            <a:xfrm>
              <a:off x="3335056" y="2798956"/>
              <a:ext cx="1684750" cy="168788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53EF4E3-A9DE-4DF9-83B2-C54C7908073A}"/>
                </a:ext>
              </a:extLst>
            </p:cNvPr>
            <p:cNvSpPr txBox="1"/>
            <p:nvPr userDrawn="1"/>
          </p:nvSpPr>
          <p:spPr>
            <a:xfrm>
              <a:off x="3200612" y="4531816"/>
              <a:ext cx="1953637" cy="30749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1pPr>
              <a:lvl2pPr marL="182563" indent="-182563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2pPr>
              <a:lvl3pPr marL="358775" indent="-1762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Verdana" panose="020B0604030504040204" pitchFamily="34" charset="0"/>
                <a:buChar char="–"/>
                <a:defRPr sz="1600"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 algn="ctr"/>
              <a:r>
                <a:rPr lang="de-DE" sz="1600">
                  <a:latin typeface="Calibri" panose="020F0502020204030204" pitchFamily="34" charset="0"/>
                  <a:cs typeface="Calibri" panose="020F0502020204030204" pitchFamily="34" charset="0"/>
                </a:rPr>
                <a:t>www.catena-x.net</a:t>
              </a:r>
            </a:p>
          </p:txBody>
        </p:sp>
      </p:grp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038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409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217"/>
            <a:fld id="{6737C4E7-2F7A-4C40-8110-7D13CF9BE4FF}" type="slidenum">
              <a:rPr lang="tr-TR" smtClean="0"/>
              <a:pPr defTabSz="914217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1452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77708CC-AA0F-4248-A47A-94FD60FA4F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02" y="2016604"/>
            <a:ext cx="3596640" cy="841248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42375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89B59B-864F-4084-9AC7-CBF12FCAC8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073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131F1E27-AAD6-4EA1-A20C-D3E72710A26B}"/>
              </a:ext>
            </a:extLst>
          </p:cNvPr>
          <p:cNvSpPr txBox="1">
            <a:spLocks/>
          </p:cNvSpPr>
          <p:nvPr userDrawn="1"/>
        </p:nvSpPr>
        <p:spPr>
          <a:xfrm>
            <a:off x="6195754" y="4070721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B65C1FA-BA8B-40B0-8307-6535549A09E6}"/>
              </a:ext>
            </a:extLst>
          </p:cNvPr>
          <p:cNvSpPr txBox="1">
            <a:spLocks/>
          </p:cNvSpPr>
          <p:nvPr userDrawn="1"/>
        </p:nvSpPr>
        <p:spPr>
          <a:xfrm>
            <a:off x="971073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934CA1A3-40FA-4F00-BBAE-953D2A255C81}"/>
              </a:ext>
            </a:extLst>
          </p:cNvPr>
          <p:cNvSpPr txBox="1">
            <a:spLocks/>
          </p:cNvSpPr>
          <p:nvPr userDrawn="1"/>
        </p:nvSpPr>
        <p:spPr>
          <a:xfrm>
            <a:off x="6195754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9863C-5B47-4462-87B6-FDBE9BFE9F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897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6D05DC9-8358-4CE3-B4DF-76CEBDF817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950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BEAE697C-2F93-4D11-B56A-F60FCFD861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4774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711CC6F-C9FE-4DF3-8082-E11C7B2F34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1073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469AFC0E-1A35-4197-A26F-26C1F44B53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897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E9F934A-0816-4D65-A0C4-440B2AD94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0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7802FF2-948C-492E-9718-28C51892EA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4774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63E673-D16A-4944-B242-8CCBABF842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515" y="3543953"/>
            <a:ext cx="2145332" cy="23813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0" i="0" dirty="0" smtClean="0"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1100" dirty="0" smtClean="0"/>
            </a:lvl2pPr>
            <a:lvl3pPr>
              <a:defRPr lang="de-DE" sz="1050" dirty="0" smtClean="0"/>
            </a:lvl3pPr>
            <a:lvl4pPr>
              <a:defRPr lang="de-DE" sz="900" dirty="0" smtClean="0"/>
            </a:lvl4pPr>
            <a:lvl5pPr>
              <a:defRPr lang="en-US" sz="900" dirty="0"/>
            </a:lvl5pPr>
          </a:lstStyle>
          <a:p>
            <a:pPr lvl="0">
              <a:spcBef>
                <a:spcPct val="0"/>
              </a:spcBef>
            </a:pPr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7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786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14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803059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. All rights reserved.</a:t>
            </a:r>
            <a:endParaRPr lang="de-D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B01803F-0391-4AFB-94C8-CED200565119}"/>
              </a:ext>
            </a:extLst>
          </p:cNvPr>
          <p:cNvSpPr/>
          <p:nvPr/>
        </p:nvSpPr>
        <p:spPr>
          <a:xfrm>
            <a:off x="8501204" y="2"/>
            <a:ext cx="3690796" cy="2362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/>
          </a:p>
        </p:txBody>
      </p:sp>
    </p:spTree>
    <p:extLst>
      <p:ext uri="{BB962C8B-B14F-4D97-AF65-F5344CB8AC3E}">
        <p14:creationId xmlns:p14="http://schemas.microsoft.com/office/powerpoint/2010/main" val="424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© 2022 Catena-X or a Catena-X affiliate company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7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053177-08ED-4410-BCB9-0850D695F747}" type="datetime1">
              <a:rPr lang="en-GB" noProof="0" smtClean="0"/>
              <a:t>19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48FA53E-8280-4E9E-89BC-EA26A2FB95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40879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1708E3A-09EB-4536-90A5-3A18724481E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C1FED230-7636-4F05-A5CB-6F1828B2FB51}" type="datetime1">
              <a:rPr lang="en-GB" noProof="0" smtClean="0"/>
              <a:t>19/08/2025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40B335-9387-4F45-8729-4A547CB1EE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83BB6FA-CA43-4771-B438-DB5B0AD57E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DAEC51A-3E18-486E-8DD8-EF64E8837A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/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EB1A5EE-761A-4364-B715-F026863815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211804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228D996-CE73-45DC-B493-D87C4C701F1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76929" y="1629986"/>
            <a:ext cx="5290622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5D3D665-F617-42EA-B3C6-27779D797B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625312" y="1629986"/>
            <a:ext cx="5289760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E8C32D2-E8A2-4186-85A9-34BAC44B92B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pPr>
              <a:defRPr/>
            </a:pPr>
            <a:fld id="{C52114D4-7145-483F-B445-5EAACF74222D}" type="datetime1">
              <a:rPr lang="en-GB" noProof="0" smtClean="0"/>
              <a:t>19/08/2025</a:t>
            </a:fld>
            <a:endParaRPr lang="en-GB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020AA2-9314-4F1E-A990-F24FDCF7645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B8C2109-1658-47C3-AD2B-133E81D2D83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EE25DF-6A67-47F3-A2AF-A59C6C7B1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214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3" y="1629986"/>
            <a:ext cx="529134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609327C-6607-4C9F-BCD0-FD167E9B1128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pPr>
              <a:defRPr/>
            </a:pPr>
            <a:fld id="{370039C5-E431-4E07-B09E-16B1C8E89BEC}" type="datetime1">
              <a:rPr lang="en-GB" noProof="0" smtClean="0"/>
              <a:t>19/08/2025</a:t>
            </a:fld>
            <a:endParaRPr lang="en-GB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43ED652-6762-4AF0-A933-ED68450D4D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AB496A3-E551-4EA2-A514-75A6AA97ED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001129D-C045-4797-BFAE-81E2C19112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6276928" y="1629986"/>
            <a:ext cx="5915072" cy="4750287"/>
          </a:xfr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DD962D-13DC-418C-8D01-300C33762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1479718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enter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3788957"/>
            <a:ext cx="10797892" cy="259131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713976D3-A2F0-407D-9DC2-57B937F2A9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1629984"/>
            <a:ext cx="12192000" cy="2375676"/>
          </a:xfrm>
          <a:custGeom>
            <a:avLst/>
            <a:gdLst>
              <a:gd name="connsiteX0" fmla="*/ 11426179 w 12195175"/>
              <a:gd name="connsiteY0" fmla="*/ 1799432 h 2376226"/>
              <a:gd name="connsiteX1" fmla="*/ 11714179 w 12195175"/>
              <a:gd name="connsiteY1" fmla="*/ 1799432 h 2376226"/>
              <a:gd name="connsiteX2" fmla="*/ 11714179 w 12195175"/>
              <a:gd name="connsiteY2" fmla="*/ 2376226 h 2376226"/>
              <a:gd name="connsiteX3" fmla="*/ 11426179 w 12195175"/>
              <a:gd name="connsiteY3" fmla="*/ 2376226 h 2376226"/>
              <a:gd name="connsiteX4" fmla="*/ 0 w 12195175"/>
              <a:gd name="connsiteY4" fmla="*/ 0 h 2376226"/>
              <a:gd name="connsiteX5" fmla="*/ 12195175 w 12195175"/>
              <a:gd name="connsiteY5" fmla="*/ 0 h 2376226"/>
              <a:gd name="connsiteX6" fmla="*/ 12195175 w 12195175"/>
              <a:gd name="connsiteY6" fmla="*/ 1799431 h 2376226"/>
              <a:gd name="connsiteX7" fmla="*/ 11714179 w 12195175"/>
              <a:gd name="connsiteY7" fmla="*/ 1799431 h 2376226"/>
              <a:gd name="connsiteX8" fmla="*/ 11714179 w 12195175"/>
              <a:gd name="connsiteY8" fmla="*/ 1223432 h 2376226"/>
              <a:gd name="connsiteX9" fmla="*/ 11426179 w 12195175"/>
              <a:gd name="connsiteY9" fmla="*/ 1223432 h 2376226"/>
              <a:gd name="connsiteX10" fmla="*/ 11426179 w 12195175"/>
              <a:gd name="connsiteY10" fmla="*/ 1799431 h 2376226"/>
              <a:gd name="connsiteX11" fmla="*/ 0 w 12195175"/>
              <a:gd name="connsiteY11" fmla="*/ 1799431 h 2376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2376226">
                <a:moveTo>
                  <a:pt x="11426179" y="1799432"/>
                </a:moveTo>
                <a:lnTo>
                  <a:pt x="11714179" y="1799432"/>
                </a:lnTo>
                <a:lnTo>
                  <a:pt x="11714179" y="2376226"/>
                </a:lnTo>
                <a:lnTo>
                  <a:pt x="11426179" y="2376226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1799431"/>
                </a:lnTo>
                <a:lnTo>
                  <a:pt x="11714179" y="1799431"/>
                </a:lnTo>
                <a:lnTo>
                  <a:pt x="11714179" y="1223432"/>
                </a:lnTo>
                <a:lnTo>
                  <a:pt x="11426179" y="1223432"/>
                </a:lnTo>
                <a:lnTo>
                  <a:pt x="11426179" y="1799431"/>
                </a:lnTo>
                <a:lnTo>
                  <a:pt x="0" y="1799431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93E131E-A464-4F58-933F-FD67B31EAA13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pPr>
              <a:defRPr/>
            </a:pPr>
            <a:fld id="{E16174D1-1C72-43CF-90EA-D438884CCA0E}" type="datetime1">
              <a:rPr lang="en-GB" noProof="0" smtClean="0"/>
              <a:t>19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18E3B08-7F15-4AE7-A5A4-D5E24B602A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4DDE341-C0D9-43BB-AF0C-861DBAC60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6F714D-6A63-47E5-9E7E-3A9F92035B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769757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224" y="3077896"/>
            <a:ext cx="1045966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F7C157-30C8-4CFE-8E44-9016778518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78" y="2912968"/>
            <a:ext cx="914400" cy="641176"/>
          </a:xfrm>
        </p:spPr>
        <p:txBody>
          <a:bodyPr/>
          <a:lstStyle>
            <a:lvl1pPr algn="r"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up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92CAD76C-E69C-478F-903C-1BD2D9768C2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859936" y="0"/>
            <a:ext cx="5332064" cy="6858000"/>
          </a:xfrm>
          <a:custGeom>
            <a:avLst/>
            <a:gdLst>
              <a:gd name="connsiteX0" fmla="*/ 0 w 5333453"/>
              <a:gd name="connsiteY0" fmla="*/ 5734050 h 6859588"/>
              <a:gd name="connsiteX1" fmla="*/ 648000 w 5333453"/>
              <a:gd name="connsiteY1" fmla="*/ 5734050 h 6859588"/>
              <a:gd name="connsiteX2" fmla="*/ 648000 w 5333453"/>
              <a:gd name="connsiteY2" fmla="*/ 6058050 h 6859588"/>
              <a:gd name="connsiteX3" fmla="*/ 0 w 5333453"/>
              <a:gd name="connsiteY3" fmla="*/ 6058050 h 6859588"/>
              <a:gd name="connsiteX4" fmla="*/ 653453 w 5333453"/>
              <a:gd name="connsiteY4" fmla="*/ 0 h 6859588"/>
              <a:gd name="connsiteX5" fmla="*/ 5333453 w 5333453"/>
              <a:gd name="connsiteY5" fmla="*/ 0 h 6859588"/>
              <a:gd name="connsiteX6" fmla="*/ 5333453 w 5333453"/>
              <a:gd name="connsiteY6" fmla="*/ 6859588 h 6859588"/>
              <a:gd name="connsiteX7" fmla="*/ 653453 w 5333453"/>
              <a:gd name="connsiteY7" fmla="*/ 6859588 h 6859588"/>
              <a:gd name="connsiteX8" fmla="*/ 653453 w 5333453"/>
              <a:gd name="connsiteY8" fmla="*/ 6058050 h 6859588"/>
              <a:gd name="connsiteX9" fmla="*/ 1296000 w 5333453"/>
              <a:gd name="connsiteY9" fmla="*/ 6058050 h 6859588"/>
              <a:gd name="connsiteX10" fmla="*/ 1296000 w 5333453"/>
              <a:gd name="connsiteY10" fmla="*/ 5734050 h 6859588"/>
              <a:gd name="connsiteX11" fmla="*/ 653453 w 5333453"/>
              <a:gd name="connsiteY11" fmla="*/ 573405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33453" h="6859588">
                <a:moveTo>
                  <a:pt x="0" y="5734050"/>
                </a:moveTo>
                <a:lnTo>
                  <a:pt x="648000" y="5734050"/>
                </a:lnTo>
                <a:lnTo>
                  <a:pt x="648000" y="6058050"/>
                </a:lnTo>
                <a:lnTo>
                  <a:pt x="0" y="6058050"/>
                </a:lnTo>
                <a:close/>
                <a:moveTo>
                  <a:pt x="653453" y="0"/>
                </a:moveTo>
                <a:lnTo>
                  <a:pt x="5333453" y="0"/>
                </a:lnTo>
                <a:lnTo>
                  <a:pt x="5333453" y="6859588"/>
                </a:lnTo>
                <a:lnTo>
                  <a:pt x="653453" y="6859588"/>
                </a:lnTo>
                <a:lnTo>
                  <a:pt x="653453" y="6058050"/>
                </a:lnTo>
                <a:lnTo>
                  <a:pt x="1296000" y="6058050"/>
                </a:lnTo>
                <a:lnTo>
                  <a:pt x="1296000" y="5734050"/>
                </a:lnTo>
                <a:lnTo>
                  <a:pt x="653453" y="5734050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273F831-D5D4-41F9-AD12-849EBF8F7D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5312" y="1629986"/>
            <a:ext cx="6225917" cy="4750287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9B2FA72-F271-462A-A062-0625F2CE5D77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pPr>
              <a:defRPr/>
            </a:pPr>
            <a:fld id="{F8EA74AD-78B1-4B5D-8F88-19F1CAD2CEF3}" type="datetime1">
              <a:rPr lang="en-GB" noProof="0" smtClean="0"/>
              <a:t>19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1CFB331-3C21-4B79-B776-18D16F5632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312B5C-F79B-4F75-B487-DFEBE1E1256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73AC21-0CEF-4139-89AA-190F83B1A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369766E5-655F-C081-E32B-0EF65F30E203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7" name="Freeform 255">
              <a:extLst>
                <a:ext uri="{FF2B5EF4-FFF2-40B4-BE49-F238E27FC236}">
                  <a16:creationId xmlns:a16="http://schemas.microsoft.com/office/drawing/2014/main" id="{AFFE7A10-4653-EE60-F5DD-97FC79327A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8" name="Freeform 256">
              <a:extLst>
                <a:ext uri="{FF2B5EF4-FFF2-40B4-BE49-F238E27FC236}">
                  <a16:creationId xmlns:a16="http://schemas.microsoft.com/office/drawing/2014/main" id="{EE8A32D5-2379-218C-14B0-C58BED67E1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9" name="Freeform 257">
              <a:extLst>
                <a:ext uri="{FF2B5EF4-FFF2-40B4-BE49-F238E27FC236}">
                  <a16:creationId xmlns:a16="http://schemas.microsoft.com/office/drawing/2014/main" id="{072DD723-A9E4-C050-40E2-A5BDD702D3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0" name="Freeform 258">
              <a:extLst>
                <a:ext uri="{FF2B5EF4-FFF2-40B4-BE49-F238E27FC236}">
                  <a16:creationId xmlns:a16="http://schemas.microsoft.com/office/drawing/2014/main" id="{66B43AC3-91F1-2634-7F03-81F9B32201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1" name="Freeform 259">
              <a:extLst>
                <a:ext uri="{FF2B5EF4-FFF2-40B4-BE49-F238E27FC236}">
                  <a16:creationId xmlns:a16="http://schemas.microsoft.com/office/drawing/2014/main" id="{B692E597-814E-BAD5-EF64-65C82105C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2" name="Freeform 260">
              <a:extLst>
                <a:ext uri="{FF2B5EF4-FFF2-40B4-BE49-F238E27FC236}">
                  <a16:creationId xmlns:a16="http://schemas.microsoft.com/office/drawing/2014/main" id="{FA4EEDE7-1E7F-65EF-E3A2-FA87CCD248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3" name="Freeform 261">
              <a:extLst>
                <a:ext uri="{FF2B5EF4-FFF2-40B4-BE49-F238E27FC236}">
                  <a16:creationId xmlns:a16="http://schemas.microsoft.com/office/drawing/2014/main" id="{6565FF9E-A1EB-B10E-4FF1-953549988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4" name="Freeform 262">
              <a:extLst>
                <a:ext uri="{FF2B5EF4-FFF2-40B4-BE49-F238E27FC236}">
                  <a16:creationId xmlns:a16="http://schemas.microsoft.com/office/drawing/2014/main" id="{5FBAD79C-5441-5D92-2906-090C02E641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5" name="Freeform 263">
              <a:extLst>
                <a:ext uri="{FF2B5EF4-FFF2-40B4-BE49-F238E27FC236}">
                  <a16:creationId xmlns:a16="http://schemas.microsoft.com/office/drawing/2014/main" id="{2B773FB3-0707-C1DE-6CCE-FE9BF67BFC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6" name="Freeform 264">
              <a:extLst>
                <a:ext uri="{FF2B5EF4-FFF2-40B4-BE49-F238E27FC236}">
                  <a16:creationId xmlns:a16="http://schemas.microsoft.com/office/drawing/2014/main" id="{A68B64CB-B0C2-EA47-9FFF-58E085D416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7" name="Freeform 265">
              <a:extLst>
                <a:ext uri="{FF2B5EF4-FFF2-40B4-BE49-F238E27FC236}">
                  <a16:creationId xmlns:a16="http://schemas.microsoft.com/office/drawing/2014/main" id="{CDD52697-C682-0AB7-2A7E-4A441615A5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8" name="Freeform 266">
              <a:extLst>
                <a:ext uri="{FF2B5EF4-FFF2-40B4-BE49-F238E27FC236}">
                  <a16:creationId xmlns:a16="http://schemas.microsoft.com/office/drawing/2014/main" id="{85C750E5-A9ED-7551-513E-E3F863EAF5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9" name="Freeform 267">
              <a:extLst>
                <a:ext uri="{FF2B5EF4-FFF2-40B4-BE49-F238E27FC236}">
                  <a16:creationId xmlns:a16="http://schemas.microsoft.com/office/drawing/2014/main" id="{B6E9FBB6-245E-A701-FFD1-828E3B93C7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0" name="Freeform 268">
              <a:extLst>
                <a:ext uri="{FF2B5EF4-FFF2-40B4-BE49-F238E27FC236}">
                  <a16:creationId xmlns:a16="http://schemas.microsoft.com/office/drawing/2014/main" id="{17AAB598-6630-5C8A-67A7-50B7C342B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1" name="Freeform 269">
              <a:extLst>
                <a:ext uri="{FF2B5EF4-FFF2-40B4-BE49-F238E27FC236}">
                  <a16:creationId xmlns:a16="http://schemas.microsoft.com/office/drawing/2014/main" id="{89F0A972-4E03-C3BF-D8A6-704F05ADCB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2" name="Freeform 270">
              <a:extLst>
                <a:ext uri="{FF2B5EF4-FFF2-40B4-BE49-F238E27FC236}">
                  <a16:creationId xmlns:a16="http://schemas.microsoft.com/office/drawing/2014/main" id="{C23E1648-24EE-E505-1096-F71F0FC7C9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3" name="Freeform 271">
              <a:extLst>
                <a:ext uri="{FF2B5EF4-FFF2-40B4-BE49-F238E27FC236}">
                  <a16:creationId xmlns:a16="http://schemas.microsoft.com/office/drawing/2014/main" id="{3835EDE5-C1F7-653E-FCFE-BFABBB297C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4" name="Freeform 272">
              <a:extLst>
                <a:ext uri="{FF2B5EF4-FFF2-40B4-BE49-F238E27FC236}">
                  <a16:creationId xmlns:a16="http://schemas.microsoft.com/office/drawing/2014/main" id="{F4EF40BE-11B8-693F-271D-1505BB480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5" name="Freeform 273">
              <a:extLst>
                <a:ext uri="{FF2B5EF4-FFF2-40B4-BE49-F238E27FC236}">
                  <a16:creationId xmlns:a16="http://schemas.microsoft.com/office/drawing/2014/main" id="{BC0874AC-881C-3F0A-9DFF-F6462C911C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6" name="Freeform 274">
              <a:extLst>
                <a:ext uri="{FF2B5EF4-FFF2-40B4-BE49-F238E27FC236}">
                  <a16:creationId xmlns:a16="http://schemas.microsoft.com/office/drawing/2014/main" id="{1C8CB059-614B-F163-ED7A-F4AB34928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7" name="Freeform 275">
              <a:extLst>
                <a:ext uri="{FF2B5EF4-FFF2-40B4-BE49-F238E27FC236}">
                  <a16:creationId xmlns:a16="http://schemas.microsoft.com/office/drawing/2014/main" id="{04F7B5D5-0A00-706F-3BF8-CB7BCFA78A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8" name="Freeform 276">
              <a:extLst>
                <a:ext uri="{FF2B5EF4-FFF2-40B4-BE49-F238E27FC236}">
                  <a16:creationId xmlns:a16="http://schemas.microsoft.com/office/drawing/2014/main" id="{FF834EBD-2D46-492F-A326-EE95F88D5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9" name="Freeform 277">
              <a:extLst>
                <a:ext uri="{FF2B5EF4-FFF2-40B4-BE49-F238E27FC236}">
                  <a16:creationId xmlns:a16="http://schemas.microsoft.com/office/drawing/2014/main" id="{537EC96A-FFA5-D8C9-E396-F09ADC4938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0" name="Freeform 278">
              <a:extLst>
                <a:ext uri="{FF2B5EF4-FFF2-40B4-BE49-F238E27FC236}">
                  <a16:creationId xmlns:a16="http://schemas.microsoft.com/office/drawing/2014/main" id="{22E4054B-64AF-D433-8719-BE0487DEF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3507376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6036" y="1343674"/>
            <a:ext cx="6900652" cy="93346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3EA4C13-68EC-459E-8441-2878F88701A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1" y="0"/>
            <a:ext cx="4656214" cy="6858000"/>
          </a:xfrm>
          <a:custGeom>
            <a:avLst/>
            <a:gdLst>
              <a:gd name="connsiteX0" fmla="*/ 4009355 w 4657427"/>
              <a:gd name="connsiteY0" fmla="*/ 5626074 h 6859588"/>
              <a:gd name="connsiteX1" fmla="*/ 4657427 w 4657427"/>
              <a:gd name="connsiteY1" fmla="*/ 5626074 h 6859588"/>
              <a:gd name="connsiteX2" fmla="*/ 4657427 w 4657427"/>
              <a:gd name="connsiteY2" fmla="*/ 5950074 h 6859588"/>
              <a:gd name="connsiteX3" fmla="*/ 4009355 w 4657427"/>
              <a:gd name="connsiteY3" fmla="*/ 5950074 h 6859588"/>
              <a:gd name="connsiteX4" fmla="*/ 0 w 4657427"/>
              <a:gd name="connsiteY4" fmla="*/ 0 h 6859588"/>
              <a:gd name="connsiteX5" fmla="*/ 4009355 w 4657427"/>
              <a:gd name="connsiteY5" fmla="*/ 0 h 6859588"/>
              <a:gd name="connsiteX6" fmla="*/ 4009355 w 4657427"/>
              <a:gd name="connsiteY6" fmla="*/ 5626074 h 6859588"/>
              <a:gd name="connsiteX7" fmla="*/ 3361283 w 4657427"/>
              <a:gd name="connsiteY7" fmla="*/ 5626074 h 6859588"/>
              <a:gd name="connsiteX8" fmla="*/ 3361283 w 4657427"/>
              <a:gd name="connsiteY8" fmla="*/ 5950074 h 6859588"/>
              <a:gd name="connsiteX9" fmla="*/ 4009355 w 4657427"/>
              <a:gd name="connsiteY9" fmla="*/ 5950074 h 6859588"/>
              <a:gd name="connsiteX10" fmla="*/ 4009355 w 4657427"/>
              <a:gd name="connsiteY10" fmla="*/ 6859588 h 6859588"/>
              <a:gd name="connsiteX11" fmla="*/ 0 w 4657427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57427" h="6859588">
                <a:moveTo>
                  <a:pt x="4009355" y="5626074"/>
                </a:moveTo>
                <a:lnTo>
                  <a:pt x="4657427" y="5626074"/>
                </a:lnTo>
                <a:lnTo>
                  <a:pt x="4657427" y="5950074"/>
                </a:lnTo>
                <a:lnTo>
                  <a:pt x="4009355" y="5950074"/>
                </a:lnTo>
                <a:close/>
                <a:moveTo>
                  <a:pt x="0" y="0"/>
                </a:moveTo>
                <a:lnTo>
                  <a:pt x="4009355" y="0"/>
                </a:lnTo>
                <a:lnTo>
                  <a:pt x="4009355" y="5626074"/>
                </a:lnTo>
                <a:lnTo>
                  <a:pt x="3361283" y="5626074"/>
                </a:lnTo>
                <a:lnTo>
                  <a:pt x="3361283" y="5950074"/>
                </a:lnTo>
                <a:lnTo>
                  <a:pt x="4009355" y="5950074"/>
                </a:lnTo>
                <a:lnTo>
                  <a:pt x="4009355" y="6859588"/>
                </a:lnTo>
                <a:lnTo>
                  <a:pt x="0" y="6859588"/>
                </a:lnTo>
                <a:close/>
              </a:path>
            </a:pathLst>
          </a:custGeom>
          <a:pattFill prst="pct20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3E798A-43D4-41CF-BD81-64995C034C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66036" y="2342286"/>
            <a:ext cx="6900653" cy="1727395"/>
          </a:xfrm>
        </p:spPr>
        <p:txBody>
          <a:bodyPr/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334E8EF-CB2D-F342-E851-1682E92CDCB6}"/>
              </a:ext>
            </a:extLst>
          </p:cNvPr>
          <p:cNvGrpSpPr/>
          <p:nvPr userDrawn="1"/>
        </p:nvGrpSpPr>
        <p:grpSpPr>
          <a:xfrm>
            <a:off x="10193728" y="452558"/>
            <a:ext cx="1374984" cy="459193"/>
            <a:chOff x="3022600" y="595313"/>
            <a:chExt cx="7691438" cy="2568576"/>
          </a:xfrm>
        </p:grpSpPr>
        <p:sp>
          <p:nvSpPr>
            <p:cNvPr id="4" name="Freeform 255">
              <a:extLst>
                <a:ext uri="{FF2B5EF4-FFF2-40B4-BE49-F238E27FC236}">
                  <a16:creationId xmlns:a16="http://schemas.microsoft.com/office/drawing/2014/main" id="{66AD03B2-C309-6C0F-6527-08906B2AC9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" name="Freeform 256">
              <a:extLst>
                <a:ext uri="{FF2B5EF4-FFF2-40B4-BE49-F238E27FC236}">
                  <a16:creationId xmlns:a16="http://schemas.microsoft.com/office/drawing/2014/main" id="{736D54DB-9CD5-3255-BA94-0260866719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7">
              <a:extLst>
                <a:ext uri="{FF2B5EF4-FFF2-40B4-BE49-F238E27FC236}">
                  <a16:creationId xmlns:a16="http://schemas.microsoft.com/office/drawing/2014/main" id="{45F9CFA8-5391-7B94-19D0-E721F54F9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8">
              <a:extLst>
                <a:ext uri="{FF2B5EF4-FFF2-40B4-BE49-F238E27FC236}">
                  <a16:creationId xmlns:a16="http://schemas.microsoft.com/office/drawing/2014/main" id="{5FD08396-5B58-9320-7973-38E7E69600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9">
              <a:extLst>
                <a:ext uri="{FF2B5EF4-FFF2-40B4-BE49-F238E27FC236}">
                  <a16:creationId xmlns:a16="http://schemas.microsoft.com/office/drawing/2014/main" id="{DD38C01F-32F2-8712-69F4-8BDF49FAED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60">
              <a:extLst>
                <a:ext uri="{FF2B5EF4-FFF2-40B4-BE49-F238E27FC236}">
                  <a16:creationId xmlns:a16="http://schemas.microsoft.com/office/drawing/2014/main" id="{74BBD814-FDB8-F2C9-E30D-E25827E51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1">
              <a:extLst>
                <a:ext uri="{FF2B5EF4-FFF2-40B4-BE49-F238E27FC236}">
                  <a16:creationId xmlns:a16="http://schemas.microsoft.com/office/drawing/2014/main" id="{B493A1B8-CCB6-F21E-278C-7149AAD716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2">
              <a:extLst>
                <a:ext uri="{FF2B5EF4-FFF2-40B4-BE49-F238E27FC236}">
                  <a16:creationId xmlns:a16="http://schemas.microsoft.com/office/drawing/2014/main" id="{5466D625-8797-C37F-3999-A08CA4364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3">
              <a:extLst>
                <a:ext uri="{FF2B5EF4-FFF2-40B4-BE49-F238E27FC236}">
                  <a16:creationId xmlns:a16="http://schemas.microsoft.com/office/drawing/2014/main" id="{E4A5761C-B6D6-C9B3-58A8-89937CC7DD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4">
              <a:extLst>
                <a:ext uri="{FF2B5EF4-FFF2-40B4-BE49-F238E27FC236}">
                  <a16:creationId xmlns:a16="http://schemas.microsoft.com/office/drawing/2014/main" id="{1ED029A8-48AA-98FB-D6F7-91AE6BC38F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5" name="Freeform 265">
              <a:extLst>
                <a:ext uri="{FF2B5EF4-FFF2-40B4-BE49-F238E27FC236}">
                  <a16:creationId xmlns:a16="http://schemas.microsoft.com/office/drawing/2014/main" id="{E17B739B-E10F-159E-D741-9FC5EB136F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6">
              <a:extLst>
                <a:ext uri="{FF2B5EF4-FFF2-40B4-BE49-F238E27FC236}">
                  <a16:creationId xmlns:a16="http://schemas.microsoft.com/office/drawing/2014/main" id="{DC036CCD-B5FF-BF11-012A-250F576BD8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7">
              <a:extLst>
                <a:ext uri="{FF2B5EF4-FFF2-40B4-BE49-F238E27FC236}">
                  <a16:creationId xmlns:a16="http://schemas.microsoft.com/office/drawing/2014/main" id="{E69074C7-584A-0183-82E3-1CEEF1EC02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8">
              <a:extLst>
                <a:ext uri="{FF2B5EF4-FFF2-40B4-BE49-F238E27FC236}">
                  <a16:creationId xmlns:a16="http://schemas.microsoft.com/office/drawing/2014/main" id="{E00B5ADE-9FAF-FF90-6D7E-95D8F61E81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9">
              <a:extLst>
                <a:ext uri="{FF2B5EF4-FFF2-40B4-BE49-F238E27FC236}">
                  <a16:creationId xmlns:a16="http://schemas.microsoft.com/office/drawing/2014/main" id="{937600F4-AD4C-C86D-1E37-12591C461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70">
              <a:extLst>
                <a:ext uri="{FF2B5EF4-FFF2-40B4-BE49-F238E27FC236}">
                  <a16:creationId xmlns:a16="http://schemas.microsoft.com/office/drawing/2014/main" id="{E6A8F66D-B235-FA2A-03FD-21DB671D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1">
              <a:extLst>
                <a:ext uri="{FF2B5EF4-FFF2-40B4-BE49-F238E27FC236}">
                  <a16:creationId xmlns:a16="http://schemas.microsoft.com/office/drawing/2014/main" id="{9661C8EB-1DD8-5CBC-56FD-20BA4410F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CA267A6A-A09B-5F5A-FA8A-CD62D3FF9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60931835-25A2-965A-214A-77D336C0E8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2534EC51-D9DA-5493-3E61-FFF905D43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EEE0ADF9-4992-0D36-3DB7-63E0B46471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E44AE7F4-7A08-BB47-1352-87D0F1F9B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0" name="Freeform 277">
              <a:extLst>
                <a:ext uri="{FF2B5EF4-FFF2-40B4-BE49-F238E27FC236}">
                  <a16:creationId xmlns:a16="http://schemas.microsoft.com/office/drawing/2014/main" id="{36EE8DEE-14A5-0F90-0444-6BCDAE3CFD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31" name="Freeform 278">
              <a:extLst>
                <a:ext uri="{FF2B5EF4-FFF2-40B4-BE49-F238E27FC236}">
                  <a16:creationId xmlns:a16="http://schemas.microsoft.com/office/drawing/2014/main" id="{42B489F8-6A8B-2B1C-8CE4-36A1E4C9B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32544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27992ACF-3CC1-43AC-A527-116E7D4FCB3A}"/>
              </a:ext>
            </a:extLst>
          </p:cNvPr>
          <p:cNvSpPr/>
          <p:nvPr userDrawn="1"/>
        </p:nvSpPr>
        <p:spPr bwMode="gray">
          <a:xfrm>
            <a:off x="4908177" y="1979050"/>
            <a:ext cx="4931263" cy="266367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DBDE99E-1F89-45E5-8350-8226E70E5BB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-1" y="1629986"/>
            <a:ext cx="9839441" cy="4750287"/>
          </a:xfrm>
          <a:custGeom>
            <a:avLst/>
            <a:gdLst>
              <a:gd name="connsiteX0" fmla="*/ 5096929 w 9842003"/>
              <a:gd name="connsiteY0" fmla="*/ 483361 h 4751387"/>
              <a:gd name="connsiteX1" fmla="*/ 9842003 w 9842003"/>
              <a:gd name="connsiteY1" fmla="*/ 483361 h 4751387"/>
              <a:gd name="connsiteX2" fmla="*/ 9842003 w 9842003"/>
              <a:gd name="connsiteY2" fmla="*/ 2899477 h 4751387"/>
              <a:gd name="connsiteX3" fmla="*/ 5096929 w 9842003"/>
              <a:gd name="connsiteY3" fmla="*/ 2899477 h 4751387"/>
              <a:gd name="connsiteX4" fmla="*/ 0 w 9842003"/>
              <a:gd name="connsiteY4" fmla="*/ 0 h 4751387"/>
              <a:gd name="connsiteX5" fmla="*/ 9842003 w 9842003"/>
              <a:gd name="connsiteY5" fmla="*/ 0 h 4751387"/>
              <a:gd name="connsiteX6" fmla="*/ 9842003 w 9842003"/>
              <a:gd name="connsiteY6" fmla="*/ 395275 h 4751387"/>
              <a:gd name="connsiteX7" fmla="*/ 5008843 w 9842003"/>
              <a:gd name="connsiteY7" fmla="*/ 395275 h 4751387"/>
              <a:gd name="connsiteX8" fmla="*/ 5008843 w 9842003"/>
              <a:gd name="connsiteY8" fmla="*/ 2987563 h 4751387"/>
              <a:gd name="connsiteX9" fmla="*/ 9842003 w 9842003"/>
              <a:gd name="connsiteY9" fmla="*/ 2987563 h 4751387"/>
              <a:gd name="connsiteX10" fmla="*/ 9842003 w 9842003"/>
              <a:gd name="connsiteY10" fmla="*/ 4751387 h 4751387"/>
              <a:gd name="connsiteX11" fmla="*/ 0 w 9842003"/>
              <a:gd name="connsiteY11" fmla="*/ 4751387 h 475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842003" h="4751387">
                <a:moveTo>
                  <a:pt x="5096929" y="483361"/>
                </a:moveTo>
                <a:lnTo>
                  <a:pt x="9842003" y="483361"/>
                </a:lnTo>
                <a:lnTo>
                  <a:pt x="9842003" y="2899477"/>
                </a:lnTo>
                <a:lnTo>
                  <a:pt x="5096929" y="2899477"/>
                </a:lnTo>
                <a:close/>
                <a:moveTo>
                  <a:pt x="0" y="0"/>
                </a:moveTo>
                <a:lnTo>
                  <a:pt x="9842003" y="0"/>
                </a:lnTo>
                <a:lnTo>
                  <a:pt x="9842003" y="395275"/>
                </a:lnTo>
                <a:lnTo>
                  <a:pt x="5008843" y="395275"/>
                </a:lnTo>
                <a:lnTo>
                  <a:pt x="5008843" y="2987563"/>
                </a:lnTo>
                <a:lnTo>
                  <a:pt x="9842003" y="2987563"/>
                </a:lnTo>
                <a:lnTo>
                  <a:pt x="9842003" y="4751387"/>
                </a:lnTo>
                <a:lnTo>
                  <a:pt x="0" y="4751387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de-DE" sz="1400"/>
            </a:lvl1pPr>
          </a:lstStyle>
          <a:p>
            <a:pPr lvl="0" algn="ctr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30F3B-035C-483B-A23F-0779FB4C6D3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>
              <a:defRPr/>
            </a:pPr>
            <a:fld id="{AEE71E62-63CC-463E-8722-889D10A5567D}" type="datetime1">
              <a:rPr lang="en-GB" noProof="0" smtClean="0"/>
              <a:t>19/08/2025</a:t>
            </a:fld>
            <a:endParaRPr lang="en-GB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D163DC-9E86-4F7A-9588-F3622AE7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>
              <a:defRPr/>
            </a:pPr>
            <a:r>
              <a:rPr lang="en-GB" noProof="0"/>
              <a:t>Our advisory practice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69965EC-1770-4C69-B1B0-D9322418E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61F7C54-956E-4035-96E5-E3754B49D8A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AEF0F1D-52A4-4672-9E51-8DB590021186}"/>
              </a:ext>
            </a:extLst>
          </p:cNvPr>
          <p:cNvSpPr/>
          <p:nvPr userDrawn="1"/>
        </p:nvSpPr>
        <p:spPr bwMode="gray">
          <a:xfrm>
            <a:off x="9839441" y="2025169"/>
            <a:ext cx="1727742" cy="259168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99" noProof="0">
              <a:solidFill>
                <a:schemeClr val="tx1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0E7A556-2C3D-4811-8D81-F3A60ED9A9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305617" y="2308658"/>
            <a:ext cx="4211371" cy="430787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2799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0644D74-D546-4B96-ACB2-37173B0E9C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9947509" y="4276228"/>
            <a:ext cx="1511606" cy="215394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>
              <a:defRPr lang="de-DE" sz="1400" smtClean="0">
                <a:solidFill>
                  <a:schemeClr val="bg1"/>
                </a:solidFill>
                <a:latin typeface="+mn-lt"/>
              </a:defRPr>
            </a:lvl1pPr>
            <a:lvl2pPr>
              <a:defRPr lang="de-DE" sz="2099" smtClean="0"/>
            </a:lvl2pPr>
            <a:lvl3pPr>
              <a:defRPr lang="de-DE" sz="2099" smtClean="0"/>
            </a:lvl3pPr>
            <a:lvl4pPr>
              <a:defRPr lang="de-DE" sz="2099" smtClean="0"/>
            </a:lvl4pPr>
            <a:lvl5pPr>
              <a:defRPr lang="de-DE" sz="2099"/>
            </a:lvl5pPr>
          </a:lstStyle>
          <a:p>
            <a:pPr lvl="0">
              <a:spcBef>
                <a:spcPts val="300"/>
              </a:spcBef>
              <a:buClr>
                <a:schemeClr val="accent1"/>
              </a:buClr>
            </a:pPr>
            <a:r>
              <a:rPr lang="en-GB" noProof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18AB3B-DB4B-4583-818F-9215055F7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57525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14FC26D8-015E-4E96-B566-401116AF02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5328373" cy="6858000"/>
          </a:xfrm>
          <a:custGeom>
            <a:avLst/>
            <a:gdLst>
              <a:gd name="connsiteX0" fmla="*/ 4680000 w 5329761"/>
              <a:gd name="connsiteY0" fmla="*/ 5302002 h 6859588"/>
              <a:gd name="connsiteX1" fmla="*/ 5329761 w 5329761"/>
              <a:gd name="connsiteY1" fmla="*/ 5302002 h 6859588"/>
              <a:gd name="connsiteX2" fmla="*/ 5329761 w 5329761"/>
              <a:gd name="connsiteY2" fmla="*/ 5626002 h 6859588"/>
              <a:gd name="connsiteX3" fmla="*/ 4680000 w 5329761"/>
              <a:gd name="connsiteY3" fmla="*/ 5626002 h 6859588"/>
              <a:gd name="connsiteX4" fmla="*/ 0 w 5329761"/>
              <a:gd name="connsiteY4" fmla="*/ 0 h 6859588"/>
              <a:gd name="connsiteX5" fmla="*/ 4680000 w 5329761"/>
              <a:gd name="connsiteY5" fmla="*/ 0 h 6859588"/>
              <a:gd name="connsiteX6" fmla="*/ 4680000 w 5329761"/>
              <a:gd name="connsiteY6" fmla="*/ 5302002 h 6859588"/>
              <a:gd name="connsiteX7" fmla="*/ 3996000 w 5329761"/>
              <a:gd name="connsiteY7" fmla="*/ 5302002 h 6859588"/>
              <a:gd name="connsiteX8" fmla="*/ 3996000 w 5329761"/>
              <a:gd name="connsiteY8" fmla="*/ 5626002 h 6859588"/>
              <a:gd name="connsiteX9" fmla="*/ 4680000 w 5329761"/>
              <a:gd name="connsiteY9" fmla="*/ 5626002 h 6859588"/>
              <a:gd name="connsiteX10" fmla="*/ 4680000 w 5329761"/>
              <a:gd name="connsiteY10" fmla="*/ 6859588 h 6859588"/>
              <a:gd name="connsiteX11" fmla="*/ 0 w 5329761"/>
              <a:gd name="connsiteY11" fmla="*/ 6859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29761" h="6859588">
                <a:moveTo>
                  <a:pt x="4680000" y="5302002"/>
                </a:moveTo>
                <a:lnTo>
                  <a:pt x="5329761" y="5302002"/>
                </a:lnTo>
                <a:lnTo>
                  <a:pt x="5329761" y="5626002"/>
                </a:lnTo>
                <a:lnTo>
                  <a:pt x="4680000" y="5626002"/>
                </a:lnTo>
                <a:close/>
                <a:moveTo>
                  <a:pt x="0" y="0"/>
                </a:moveTo>
                <a:lnTo>
                  <a:pt x="4680000" y="0"/>
                </a:lnTo>
                <a:lnTo>
                  <a:pt x="4680000" y="5302002"/>
                </a:lnTo>
                <a:lnTo>
                  <a:pt x="3996000" y="5302002"/>
                </a:lnTo>
                <a:lnTo>
                  <a:pt x="3996000" y="5626002"/>
                </a:lnTo>
                <a:lnTo>
                  <a:pt x="4680000" y="5626002"/>
                </a:lnTo>
                <a:lnTo>
                  <a:pt x="4680000" y="6859588"/>
                </a:lnTo>
                <a:lnTo>
                  <a:pt x="0" y="6859588"/>
                </a:lnTo>
                <a:close/>
              </a:path>
            </a:pathLst>
          </a:custGeom>
          <a:pattFill prst="pct25">
            <a:fgClr>
              <a:schemeClr val="accent5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GB" noProof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28148" y="3141035"/>
            <a:ext cx="6238540" cy="1223853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544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28148" y="1343674"/>
            <a:ext cx="6238540" cy="165337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3599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1200"/>
              </a:spcBef>
              <a:buNone/>
              <a:defRPr sz="1799" cap="none" baseline="0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8DFAC4B-DD39-49BF-ACC8-AFDE3FB51C6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32129" y="313664"/>
            <a:ext cx="1154519" cy="599097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D18B782-B04B-035B-8F38-EE66E0D00192}"/>
              </a:ext>
            </a:extLst>
          </p:cNvPr>
          <p:cNvGrpSpPr/>
          <p:nvPr userDrawn="1"/>
        </p:nvGrpSpPr>
        <p:grpSpPr>
          <a:xfrm>
            <a:off x="10589966" y="348675"/>
            <a:ext cx="979100" cy="326982"/>
            <a:chOff x="3022600" y="595313"/>
            <a:chExt cx="7691438" cy="2568576"/>
          </a:xfrm>
        </p:grpSpPr>
        <p:sp>
          <p:nvSpPr>
            <p:cNvPr id="5" name="Freeform 255">
              <a:extLst>
                <a:ext uri="{FF2B5EF4-FFF2-40B4-BE49-F238E27FC236}">
                  <a16:creationId xmlns:a16="http://schemas.microsoft.com/office/drawing/2014/main" id="{B33B5876-2CA9-B8E5-4672-DAE8E7582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1838326"/>
              <a:ext cx="625475" cy="1046163"/>
            </a:xfrm>
            <a:custGeom>
              <a:avLst/>
              <a:gdLst>
                <a:gd name="T0" fmla="*/ 81 w 166"/>
                <a:gd name="T1" fmla="*/ 75 h 277"/>
                <a:gd name="T2" fmla="*/ 35 w 166"/>
                <a:gd name="T3" fmla="*/ 77 h 277"/>
                <a:gd name="T4" fmla="*/ 35 w 166"/>
                <a:gd name="T5" fmla="*/ 5 h 277"/>
                <a:gd name="T6" fmla="*/ 29 w 166"/>
                <a:gd name="T7" fmla="*/ 0 h 277"/>
                <a:gd name="T8" fmla="*/ 5 w 166"/>
                <a:gd name="T9" fmla="*/ 0 h 277"/>
                <a:gd name="T10" fmla="*/ 0 w 166"/>
                <a:gd name="T11" fmla="*/ 5 h 277"/>
                <a:gd name="T12" fmla="*/ 0 w 166"/>
                <a:gd name="T13" fmla="*/ 100 h 277"/>
                <a:gd name="T14" fmla="*/ 5 w 166"/>
                <a:gd name="T15" fmla="*/ 105 h 277"/>
                <a:gd name="T16" fmla="*/ 35 w 166"/>
                <a:gd name="T17" fmla="*/ 105 h 277"/>
                <a:gd name="T18" fmla="*/ 35 w 166"/>
                <a:gd name="T19" fmla="*/ 105 h 277"/>
                <a:gd name="T20" fmla="*/ 85 w 166"/>
                <a:gd name="T21" fmla="*/ 105 h 277"/>
                <a:gd name="T22" fmla="*/ 131 w 166"/>
                <a:gd name="T23" fmla="*/ 163 h 277"/>
                <a:gd name="T24" fmla="*/ 131 w 166"/>
                <a:gd name="T25" fmla="*/ 271 h 277"/>
                <a:gd name="T26" fmla="*/ 137 w 166"/>
                <a:gd name="T27" fmla="*/ 277 h 277"/>
                <a:gd name="T28" fmla="*/ 161 w 166"/>
                <a:gd name="T29" fmla="*/ 277 h 277"/>
                <a:gd name="T30" fmla="*/ 166 w 166"/>
                <a:gd name="T31" fmla="*/ 271 h 277"/>
                <a:gd name="T32" fmla="*/ 166 w 166"/>
                <a:gd name="T33" fmla="*/ 160 h 277"/>
                <a:gd name="T34" fmla="*/ 81 w 166"/>
                <a:gd name="T35" fmla="*/ 75 h 277"/>
                <a:gd name="T36" fmla="*/ 81 w 166"/>
                <a:gd name="T37" fmla="*/ 7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277">
                  <a:moveTo>
                    <a:pt x="81" y="75"/>
                  </a:moveTo>
                  <a:cubicBezTo>
                    <a:pt x="71" y="75"/>
                    <a:pt x="53" y="75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20" y="105"/>
                    <a:pt x="131" y="107"/>
                    <a:pt x="131" y="163"/>
                  </a:cubicBezTo>
                  <a:cubicBezTo>
                    <a:pt x="131" y="271"/>
                    <a:pt x="131" y="271"/>
                    <a:pt x="131" y="271"/>
                  </a:cubicBezTo>
                  <a:cubicBezTo>
                    <a:pt x="131" y="274"/>
                    <a:pt x="133" y="277"/>
                    <a:pt x="137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4" y="277"/>
                    <a:pt x="166" y="274"/>
                    <a:pt x="166" y="271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83"/>
                    <a:pt x="147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6" name="Freeform 256">
              <a:extLst>
                <a:ext uri="{FF2B5EF4-FFF2-40B4-BE49-F238E27FC236}">
                  <a16:creationId xmlns:a16="http://schemas.microsoft.com/office/drawing/2014/main" id="{1638FEC5-E61E-9EE0-2B31-7D3FE3A968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56038" y="2120901"/>
              <a:ext cx="546100" cy="771525"/>
            </a:xfrm>
            <a:custGeom>
              <a:avLst/>
              <a:gdLst>
                <a:gd name="T0" fmla="*/ 140 w 145"/>
                <a:gd name="T1" fmla="*/ 3 h 204"/>
                <a:gd name="T2" fmla="*/ 85 w 145"/>
                <a:gd name="T3" fmla="*/ 0 h 204"/>
                <a:gd name="T4" fmla="*/ 0 w 145"/>
                <a:gd name="T5" fmla="*/ 102 h 204"/>
                <a:gd name="T6" fmla="*/ 85 w 145"/>
                <a:gd name="T7" fmla="*/ 204 h 204"/>
                <a:gd name="T8" fmla="*/ 140 w 145"/>
                <a:gd name="T9" fmla="*/ 200 h 204"/>
                <a:gd name="T10" fmla="*/ 145 w 145"/>
                <a:gd name="T11" fmla="*/ 194 h 204"/>
                <a:gd name="T12" fmla="*/ 145 w 145"/>
                <a:gd name="T13" fmla="*/ 178 h 204"/>
                <a:gd name="T14" fmla="*/ 140 w 145"/>
                <a:gd name="T15" fmla="*/ 173 h 204"/>
                <a:gd name="T16" fmla="*/ 85 w 145"/>
                <a:gd name="T17" fmla="*/ 173 h 204"/>
                <a:gd name="T18" fmla="*/ 35 w 145"/>
                <a:gd name="T19" fmla="*/ 102 h 204"/>
                <a:gd name="T20" fmla="*/ 85 w 145"/>
                <a:gd name="T21" fmla="*/ 30 h 204"/>
                <a:gd name="T22" fmla="*/ 140 w 145"/>
                <a:gd name="T23" fmla="*/ 30 h 204"/>
                <a:gd name="T24" fmla="*/ 145 w 145"/>
                <a:gd name="T25" fmla="*/ 25 h 204"/>
                <a:gd name="T26" fmla="*/ 145 w 145"/>
                <a:gd name="T27" fmla="*/ 9 h 204"/>
                <a:gd name="T28" fmla="*/ 140 w 145"/>
                <a:gd name="T29" fmla="*/ 3 h 204"/>
                <a:gd name="T30" fmla="*/ 140 w 145"/>
                <a:gd name="T31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0" y="3"/>
                  </a:moveTo>
                  <a:cubicBezTo>
                    <a:pt x="122" y="0"/>
                    <a:pt x="100" y="0"/>
                    <a:pt x="85" y="0"/>
                  </a:cubicBezTo>
                  <a:cubicBezTo>
                    <a:pt x="14" y="0"/>
                    <a:pt x="0" y="20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2" y="203"/>
                    <a:pt x="140" y="200"/>
                  </a:cubicBezTo>
                  <a:cubicBezTo>
                    <a:pt x="144" y="200"/>
                    <a:pt x="145" y="198"/>
                    <a:pt x="145" y="194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45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4" y="30"/>
                    <a:pt x="145" y="29"/>
                    <a:pt x="145" y="25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6"/>
                    <a:pt x="144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7" name="Freeform 257">
              <a:extLst>
                <a:ext uri="{FF2B5EF4-FFF2-40B4-BE49-F238E27FC236}">
                  <a16:creationId xmlns:a16="http://schemas.microsoft.com/office/drawing/2014/main" id="{78B9D6EF-D355-0610-D78A-AE880D16FC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5200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8" name="Freeform 258">
              <a:extLst>
                <a:ext uri="{FF2B5EF4-FFF2-40B4-BE49-F238E27FC236}">
                  <a16:creationId xmlns:a16="http://schemas.microsoft.com/office/drawing/2014/main" id="{AA586FE6-B282-90D1-78D8-ACBE8A0C21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475" y="2117726"/>
              <a:ext cx="1017588" cy="766763"/>
            </a:xfrm>
            <a:custGeom>
              <a:avLst/>
              <a:gdLst>
                <a:gd name="T0" fmla="*/ 187 w 270"/>
                <a:gd name="T1" fmla="*/ 0 h 203"/>
                <a:gd name="T2" fmla="*/ 128 w 270"/>
                <a:gd name="T3" fmla="*/ 12 h 203"/>
                <a:gd name="T4" fmla="*/ 67 w 270"/>
                <a:gd name="T5" fmla="*/ 1 h 203"/>
                <a:gd name="T6" fmla="*/ 6 w 270"/>
                <a:gd name="T7" fmla="*/ 7 h 203"/>
                <a:gd name="T8" fmla="*/ 0 w 270"/>
                <a:gd name="T9" fmla="*/ 12 h 203"/>
                <a:gd name="T10" fmla="*/ 0 w 270"/>
                <a:gd name="T11" fmla="*/ 197 h 203"/>
                <a:gd name="T12" fmla="*/ 6 w 270"/>
                <a:gd name="T13" fmla="*/ 203 h 203"/>
                <a:gd name="T14" fmla="*/ 30 w 270"/>
                <a:gd name="T15" fmla="*/ 203 h 203"/>
                <a:gd name="T16" fmla="*/ 36 w 270"/>
                <a:gd name="T17" fmla="*/ 197 h 203"/>
                <a:gd name="T18" fmla="*/ 36 w 270"/>
                <a:gd name="T19" fmla="*/ 37 h 203"/>
                <a:gd name="T20" fmla="*/ 41 w 270"/>
                <a:gd name="T21" fmla="*/ 31 h 203"/>
                <a:gd name="T22" fmla="*/ 72 w 270"/>
                <a:gd name="T23" fmla="*/ 31 h 203"/>
                <a:gd name="T24" fmla="*/ 118 w 270"/>
                <a:gd name="T25" fmla="*/ 87 h 203"/>
                <a:gd name="T26" fmla="*/ 118 w 270"/>
                <a:gd name="T27" fmla="*/ 197 h 203"/>
                <a:gd name="T28" fmla="*/ 123 w 270"/>
                <a:gd name="T29" fmla="*/ 203 h 203"/>
                <a:gd name="T30" fmla="*/ 147 w 270"/>
                <a:gd name="T31" fmla="*/ 203 h 203"/>
                <a:gd name="T32" fmla="*/ 152 w 270"/>
                <a:gd name="T33" fmla="*/ 197 h 203"/>
                <a:gd name="T34" fmla="*/ 153 w 270"/>
                <a:gd name="T35" fmla="*/ 86 h 203"/>
                <a:gd name="T36" fmla="*/ 149 w 270"/>
                <a:gd name="T37" fmla="*/ 40 h 203"/>
                <a:gd name="T38" fmla="*/ 153 w 270"/>
                <a:gd name="T39" fmla="*/ 33 h 203"/>
                <a:gd name="T40" fmla="*/ 190 w 270"/>
                <a:gd name="T41" fmla="*/ 31 h 203"/>
                <a:gd name="T42" fmla="*/ 235 w 270"/>
                <a:gd name="T43" fmla="*/ 89 h 203"/>
                <a:gd name="T44" fmla="*/ 235 w 270"/>
                <a:gd name="T45" fmla="*/ 197 h 203"/>
                <a:gd name="T46" fmla="*/ 241 w 270"/>
                <a:gd name="T47" fmla="*/ 203 h 203"/>
                <a:gd name="T48" fmla="*/ 264 w 270"/>
                <a:gd name="T49" fmla="*/ 203 h 203"/>
                <a:gd name="T50" fmla="*/ 270 w 270"/>
                <a:gd name="T51" fmla="*/ 197 h 203"/>
                <a:gd name="T52" fmla="*/ 270 w 270"/>
                <a:gd name="T53" fmla="*/ 85 h 203"/>
                <a:gd name="T54" fmla="*/ 187 w 270"/>
                <a:gd name="T55" fmla="*/ 0 h 203"/>
                <a:gd name="T56" fmla="*/ 187 w 270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0" h="203">
                  <a:moveTo>
                    <a:pt x="187" y="0"/>
                  </a:moveTo>
                  <a:cubicBezTo>
                    <a:pt x="170" y="0"/>
                    <a:pt x="147" y="5"/>
                    <a:pt x="128" y="12"/>
                  </a:cubicBezTo>
                  <a:cubicBezTo>
                    <a:pt x="114" y="5"/>
                    <a:pt x="90" y="1"/>
                    <a:pt x="67" y="1"/>
                  </a:cubicBezTo>
                  <a:cubicBezTo>
                    <a:pt x="50" y="1"/>
                    <a:pt x="25" y="3"/>
                    <a:pt x="6" y="7"/>
                  </a:cubicBezTo>
                  <a:cubicBezTo>
                    <a:pt x="2" y="7"/>
                    <a:pt x="0" y="8"/>
                    <a:pt x="0" y="12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0"/>
                    <a:pt x="3" y="203"/>
                    <a:pt x="6" y="203"/>
                  </a:cubicBezTo>
                  <a:cubicBezTo>
                    <a:pt x="30" y="203"/>
                    <a:pt x="30" y="203"/>
                    <a:pt x="30" y="203"/>
                  </a:cubicBezTo>
                  <a:cubicBezTo>
                    <a:pt x="33" y="203"/>
                    <a:pt x="36" y="200"/>
                    <a:pt x="36" y="19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4"/>
                    <a:pt x="38" y="31"/>
                    <a:pt x="41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107" y="31"/>
                    <a:pt x="118" y="33"/>
                    <a:pt x="118" y="8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200"/>
                    <a:pt x="120" y="203"/>
                    <a:pt x="123" y="203"/>
                  </a:cubicBezTo>
                  <a:cubicBezTo>
                    <a:pt x="147" y="203"/>
                    <a:pt x="147" y="203"/>
                    <a:pt x="147" y="203"/>
                  </a:cubicBezTo>
                  <a:cubicBezTo>
                    <a:pt x="151" y="203"/>
                    <a:pt x="152" y="202"/>
                    <a:pt x="152" y="197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3" y="66"/>
                    <a:pt x="152" y="52"/>
                    <a:pt x="149" y="40"/>
                  </a:cubicBezTo>
                  <a:cubicBezTo>
                    <a:pt x="148" y="37"/>
                    <a:pt x="150" y="34"/>
                    <a:pt x="153" y="33"/>
                  </a:cubicBezTo>
                  <a:cubicBezTo>
                    <a:pt x="164" y="32"/>
                    <a:pt x="177" y="31"/>
                    <a:pt x="190" y="31"/>
                  </a:cubicBezTo>
                  <a:cubicBezTo>
                    <a:pt x="224" y="31"/>
                    <a:pt x="235" y="33"/>
                    <a:pt x="235" y="89"/>
                  </a:cubicBezTo>
                  <a:cubicBezTo>
                    <a:pt x="235" y="197"/>
                    <a:pt x="235" y="197"/>
                    <a:pt x="235" y="197"/>
                  </a:cubicBezTo>
                  <a:cubicBezTo>
                    <a:pt x="235" y="200"/>
                    <a:pt x="238" y="203"/>
                    <a:pt x="241" y="203"/>
                  </a:cubicBezTo>
                  <a:cubicBezTo>
                    <a:pt x="264" y="203"/>
                    <a:pt x="264" y="203"/>
                    <a:pt x="264" y="203"/>
                  </a:cubicBezTo>
                  <a:cubicBezTo>
                    <a:pt x="268" y="203"/>
                    <a:pt x="270" y="201"/>
                    <a:pt x="270" y="197"/>
                  </a:cubicBezTo>
                  <a:cubicBezTo>
                    <a:pt x="270" y="85"/>
                    <a:pt x="270" y="85"/>
                    <a:pt x="270" y="85"/>
                  </a:cubicBezTo>
                  <a:cubicBezTo>
                    <a:pt x="270" y="9"/>
                    <a:pt x="250" y="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9" name="Freeform 259">
              <a:extLst>
                <a:ext uri="{FF2B5EF4-FFF2-40B4-BE49-F238E27FC236}">
                  <a16:creationId xmlns:a16="http://schemas.microsoft.com/office/drawing/2014/main" id="{2A5A674A-CD52-F6DA-1153-B702CA39A5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2600" y="1830388"/>
              <a:ext cx="719138" cy="1062038"/>
            </a:xfrm>
            <a:custGeom>
              <a:avLst/>
              <a:gdLst>
                <a:gd name="T0" fmla="*/ 148 w 191"/>
                <a:gd name="T1" fmla="*/ 142 h 281"/>
                <a:gd name="T2" fmla="*/ 69 w 191"/>
                <a:gd name="T3" fmla="*/ 109 h 281"/>
                <a:gd name="T4" fmla="*/ 41 w 191"/>
                <a:gd name="T5" fmla="*/ 71 h 281"/>
                <a:gd name="T6" fmla="*/ 41 w 191"/>
                <a:gd name="T7" fmla="*/ 65 h 281"/>
                <a:gd name="T8" fmla="*/ 89 w 191"/>
                <a:gd name="T9" fmla="*/ 32 h 281"/>
                <a:gd name="T10" fmla="*/ 171 w 191"/>
                <a:gd name="T11" fmla="*/ 32 h 281"/>
                <a:gd name="T12" fmla="*/ 176 w 191"/>
                <a:gd name="T13" fmla="*/ 27 h 281"/>
                <a:gd name="T14" fmla="*/ 176 w 191"/>
                <a:gd name="T15" fmla="*/ 10 h 281"/>
                <a:gd name="T16" fmla="*/ 171 w 191"/>
                <a:gd name="T17" fmla="*/ 5 h 281"/>
                <a:gd name="T18" fmla="*/ 100 w 191"/>
                <a:gd name="T19" fmla="*/ 0 h 281"/>
                <a:gd name="T20" fmla="*/ 4 w 191"/>
                <a:gd name="T21" fmla="*/ 63 h 281"/>
                <a:gd name="T22" fmla="*/ 4 w 191"/>
                <a:gd name="T23" fmla="*/ 72 h 281"/>
                <a:gd name="T24" fmla="*/ 38 w 191"/>
                <a:gd name="T25" fmla="*/ 134 h 281"/>
                <a:gd name="T26" fmla="*/ 125 w 191"/>
                <a:gd name="T27" fmla="*/ 169 h 281"/>
                <a:gd name="T28" fmla="*/ 153 w 191"/>
                <a:gd name="T29" fmla="*/ 209 h 281"/>
                <a:gd name="T30" fmla="*/ 153 w 191"/>
                <a:gd name="T31" fmla="*/ 216 h 281"/>
                <a:gd name="T32" fmla="*/ 106 w 191"/>
                <a:gd name="T33" fmla="*/ 248 h 281"/>
                <a:gd name="T34" fmla="*/ 5 w 191"/>
                <a:gd name="T35" fmla="*/ 248 h 281"/>
                <a:gd name="T36" fmla="*/ 0 w 191"/>
                <a:gd name="T37" fmla="*/ 254 h 281"/>
                <a:gd name="T38" fmla="*/ 0 w 191"/>
                <a:gd name="T39" fmla="*/ 270 h 281"/>
                <a:gd name="T40" fmla="*/ 4 w 191"/>
                <a:gd name="T41" fmla="*/ 276 h 281"/>
                <a:gd name="T42" fmla="*/ 94 w 191"/>
                <a:gd name="T43" fmla="*/ 281 h 281"/>
                <a:gd name="T44" fmla="*/ 191 w 191"/>
                <a:gd name="T45" fmla="*/ 217 h 281"/>
                <a:gd name="T46" fmla="*/ 191 w 191"/>
                <a:gd name="T47" fmla="*/ 205 h 281"/>
                <a:gd name="T48" fmla="*/ 148 w 191"/>
                <a:gd name="T49" fmla="*/ 142 h 281"/>
                <a:gd name="T50" fmla="*/ 148 w 191"/>
                <a:gd name="T51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1" h="281">
                  <a:moveTo>
                    <a:pt x="148" y="142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46" y="99"/>
                    <a:pt x="41" y="90"/>
                    <a:pt x="41" y="7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42"/>
                    <a:pt x="57" y="32"/>
                    <a:pt x="8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5" y="32"/>
                    <a:pt x="176" y="31"/>
                    <a:pt x="176" y="27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5" y="6"/>
                    <a:pt x="171" y="5"/>
                  </a:cubicBezTo>
                  <a:cubicBezTo>
                    <a:pt x="141" y="2"/>
                    <a:pt x="130" y="0"/>
                    <a:pt x="100" y="0"/>
                  </a:cubicBezTo>
                  <a:cubicBezTo>
                    <a:pt x="48" y="0"/>
                    <a:pt x="4" y="7"/>
                    <a:pt x="4" y="6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100"/>
                    <a:pt x="10" y="123"/>
                    <a:pt x="38" y="134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48" y="179"/>
                    <a:pt x="153" y="190"/>
                    <a:pt x="153" y="209"/>
                  </a:cubicBezTo>
                  <a:cubicBezTo>
                    <a:pt x="153" y="216"/>
                    <a:pt x="153" y="216"/>
                    <a:pt x="153" y="216"/>
                  </a:cubicBezTo>
                  <a:cubicBezTo>
                    <a:pt x="153" y="239"/>
                    <a:pt x="138" y="248"/>
                    <a:pt x="106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2" y="248"/>
                    <a:pt x="0" y="251"/>
                    <a:pt x="0" y="25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3"/>
                    <a:pt x="1" y="275"/>
                    <a:pt x="4" y="276"/>
                  </a:cubicBezTo>
                  <a:cubicBezTo>
                    <a:pt x="35" y="279"/>
                    <a:pt x="64" y="281"/>
                    <a:pt x="94" y="281"/>
                  </a:cubicBezTo>
                  <a:cubicBezTo>
                    <a:pt x="146" y="281"/>
                    <a:pt x="191" y="273"/>
                    <a:pt x="191" y="217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1" y="176"/>
                    <a:pt x="182" y="155"/>
                    <a:pt x="148" y="142"/>
                  </a:cubicBezTo>
                  <a:cubicBezTo>
                    <a:pt x="148" y="142"/>
                    <a:pt x="148" y="142"/>
                    <a:pt x="148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0" name="Freeform 260">
              <a:extLst>
                <a:ext uri="{FF2B5EF4-FFF2-40B4-BE49-F238E27FC236}">
                  <a16:creationId xmlns:a16="http://schemas.microsoft.com/office/drawing/2014/main" id="{88372774-BE5E-2603-6FEC-4198B6983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2213" y="2128838"/>
              <a:ext cx="628650" cy="763588"/>
            </a:xfrm>
            <a:custGeom>
              <a:avLst/>
              <a:gdLst>
                <a:gd name="T0" fmla="*/ 162 w 167"/>
                <a:gd name="T1" fmla="*/ 0 h 202"/>
                <a:gd name="T2" fmla="*/ 137 w 167"/>
                <a:gd name="T3" fmla="*/ 0 h 202"/>
                <a:gd name="T4" fmla="*/ 132 w 167"/>
                <a:gd name="T5" fmla="*/ 5 h 202"/>
                <a:gd name="T6" fmla="*/ 132 w 167"/>
                <a:gd name="T7" fmla="*/ 171 h 202"/>
                <a:gd name="T8" fmla="*/ 82 w 167"/>
                <a:gd name="T9" fmla="*/ 171 h 202"/>
                <a:gd name="T10" fmla="*/ 36 w 167"/>
                <a:gd name="T11" fmla="*/ 113 h 202"/>
                <a:gd name="T12" fmla="*/ 36 w 167"/>
                <a:gd name="T13" fmla="*/ 5 h 202"/>
                <a:gd name="T14" fmla="*/ 30 w 167"/>
                <a:gd name="T15" fmla="*/ 0 h 202"/>
                <a:gd name="T16" fmla="*/ 6 w 167"/>
                <a:gd name="T17" fmla="*/ 0 h 202"/>
                <a:gd name="T18" fmla="*/ 0 w 167"/>
                <a:gd name="T19" fmla="*/ 5 h 202"/>
                <a:gd name="T20" fmla="*/ 0 w 167"/>
                <a:gd name="T21" fmla="*/ 116 h 202"/>
                <a:gd name="T22" fmla="*/ 85 w 167"/>
                <a:gd name="T23" fmla="*/ 202 h 202"/>
                <a:gd name="T24" fmla="*/ 162 w 167"/>
                <a:gd name="T25" fmla="*/ 196 h 202"/>
                <a:gd name="T26" fmla="*/ 167 w 167"/>
                <a:gd name="T27" fmla="*/ 190 h 202"/>
                <a:gd name="T28" fmla="*/ 167 w 167"/>
                <a:gd name="T29" fmla="*/ 5 h 202"/>
                <a:gd name="T30" fmla="*/ 162 w 167"/>
                <a:gd name="T31" fmla="*/ 0 h 202"/>
                <a:gd name="T32" fmla="*/ 162 w 167"/>
                <a:gd name="T3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202">
                  <a:moveTo>
                    <a:pt x="162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47" y="171"/>
                    <a:pt x="36" y="169"/>
                    <a:pt x="36" y="11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93"/>
                    <a:pt x="20" y="202"/>
                    <a:pt x="85" y="202"/>
                  </a:cubicBezTo>
                  <a:cubicBezTo>
                    <a:pt x="103" y="202"/>
                    <a:pt x="133" y="201"/>
                    <a:pt x="162" y="196"/>
                  </a:cubicBezTo>
                  <a:cubicBezTo>
                    <a:pt x="165" y="195"/>
                    <a:pt x="167" y="195"/>
                    <a:pt x="167" y="19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2"/>
                    <a:pt x="165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2" name="Freeform 261">
              <a:extLst>
                <a:ext uri="{FF2B5EF4-FFF2-40B4-BE49-F238E27FC236}">
                  <a16:creationId xmlns:a16="http://schemas.microsoft.com/office/drawing/2014/main" id="{EE8DEDE0-0E12-1CF3-E568-1D2977D493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85388" y="2120901"/>
              <a:ext cx="628650" cy="1042988"/>
            </a:xfrm>
            <a:custGeom>
              <a:avLst/>
              <a:gdLst>
                <a:gd name="T0" fmla="*/ 162 w 167"/>
                <a:gd name="T1" fmla="*/ 30 h 276"/>
                <a:gd name="T2" fmla="*/ 167 w 167"/>
                <a:gd name="T3" fmla="*/ 25 h 276"/>
                <a:gd name="T4" fmla="*/ 167 w 167"/>
                <a:gd name="T5" fmla="*/ 12 h 276"/>
                <a:gd name="T6" fmla="*/ 161 w 167"/>
                <a:gd name="T7" fmla="*/ 6 h 276"/>
                <a:gd name="T8" fmla="*/ 85 w 167"/>
                <a:gd name="T9" fmla="*/ 0 h 276"/>
                <a:gd name="T10" fmla="*/ 0 w 167"/>
                <a:gd name="T11" fmla="*/ 101 h 276"/>
                <a:gd name="T12" fmla="*/ 83 w 167"/>
                <a:gd name="T13" fmla="*/ 204 h 276"/>
                <a:gd name="T14" fmla="*/ 132 w 167"/>
                <a:gd name="T15" fmla="*/ 201 h 276"/>
                <a:gd name="T16" fmla="*/ 132 w 167"/>
                <a:gd name="T17" fmla="*/ 203 h 276"/>
                <a:gd name="T18" fmla="*/ 82 w 167"/>
                <a:gd name="T19" fmla="*/ 246 h 276"/>
                <a:gd name="T20" fmla="*/ 30 w 167"/>
                <a:gd name="T21" fmla="*/ 246 h 276"/>
                <a:gd name="T22" fmla="*/ 24 w 167"/>
                <a:gd name="T23" fmla="*/ 251 h 276"/>
                <a:gd name="T24" fmla="*/ 24 w 167"/>
                <a:gd name="T25" fmla="*/ 267 h 276"/>
                <a:gd name="T26" fmla="*/ 29 w 167"/>
                <a:gd name="T27" fmla="*/ 273 h 276"/>
                <a:gd name="T28" fmla="*/ 82 w 167"/>
                <a:gd name="T29" fmla="*/ 276 h 276"/>
                <a:gd name="T30" fmla="*/ 167 w 167"/>
                <a:gd name="T31" fmla="*/ 184 h 276"/>
                <a:gd name="T32" fmla="*/ 167 w 167"/>
                <a:gd name="T33" fmla="*/ 60 h 276"/>
                <a:gd name="T34" fmla="*/ 162 w 167"/>
                <a:gd name="T35" fmla="*/ 55 h 276"/>
                <a:gd name="T36" fmla="*/ 137 w 167"/>
                <a:gd name="T37" fmla="*/ 55 h 276"/>
                <a:gd name="T38" fmla="*/ 132 w 167"/>
                <a:gd name="T39" fmla="*/ 60 h 276"/>
                <a:gd name="T40" fmla="*/ 132 w 167"/>
                <a:gd name="T41" fmla="*/ 170 h 276"/>
                <a:gd name="T42" fmla="*/ 86 w 167"/>
                <a:gd name="T43" fmla="*/ 173 h 276"/>
                <a:gd name="T44" fmla="*/ 35 w 167"/>
                <a:gd name="T45" fmla="*/ 102 h 276"/>
                <a:gd name="T46" fmla="*/ 85 w 167"/>
                <a:gd name="T47" fmla="*/ 30 h 276"/>
                <a:gd name="T48" fmla="*/ 132 w 167"/>
                <a:gd name="T49" fmla="*/ 30 h 276"/>
                <a:gd name="T50" fmla="*/ 132 w 167"/>
                <a:gd name="T51" fmla="*/ 30 h 276"/>
                <a:gd name="T52" fmla="*/ 162 w 167"/>
                <a:gd name="T53" fmla="*/ 30 h 276"/>
                <a:gd name="T54" fmla="*/ 162 w 167"/>
                <a:gd name="T55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7" h="276">
                  <a:moveTo>
                    <a:pt x="162" y="30"/>
                  </a:moveTo>
                  <a:cubicBezTo>
                    <a:pt x="165" y="30"/>
                    <a:pt x="167" y="28"/>
                    <a:pt x="167" y="25"/>
                  </a:cubicBezTo>
                  <a:cubicBezTo>
                    <a:pt x="167" y="12"/>
                    <a:pt x="167" y="12"/>
                    <a:pt x="167" y="12"/>
                  </a:cubicBezTo>
                  <a:cubicBezTo>
                    <a:pt x="167" y="8"/>
                    <a:pt x="165" y="6"/>
                    <a:pt x="161" y="6"/>
                  </a:cubicBezTo>
                  <a:cubicBezTo>
                    <a:pt x="145" y="3"/>
                    <a:pt x="120" y="0"/>
                    <a:pt x="85" y="0"/>
                  </a:cubicBezTo>
                  <a:cubicBezTo>
                    <a:pt x="15" y="0"/>
                    <a:pt x="0" y="20"/>
                    <a:pt x="0" y="101"/>
                  </a:cubicBezTo>
                  <a:cubicBezTo>
                    <a:pt x="0" y="183"/>
                    <a:pt x="14" y="204"/>
                    <a:pt x="83" y="204"/>
                  </a:cubicBezTo>
                  <a:cubicBezTo>
                    <a:pt x="102" y="204"/>
                    <a:pt x="116" y="203"/>
                    <a:pt x="132" y="201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36"/>
                    <a:pt x="123" y="246"/>
                    <a:pt x="82" y="246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27" y="246"/>
                    <a:pt x="24" y="248"/>
                    <a:pt x="24" y="251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70"/>
                    <a:pt x="26" y="273"/>
                    <a:pt x="29" y="273"/>
                  </a:cubicBezTo>
                  <a:cubicBezTo>
                    <a:pt x="48" y="276"/>
                    <a:pt x="68" y="276"/>
                    <a:pt x="82" y="276"/>
                  </a:cubicBezTo>
                  <a:cubicBezTo>
                    <a:pt x="153" y="276"/>
                    <a:pt x="167" y="255"/>
                    <a:pt x="167" y="184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57"/>
                    <a:pt x="165" y="55"/>
                    <a:pt x="162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4" y="55"/>
                    <a:pt x="132" y="57"/>
                    <a:pt x="132" y="6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17" y="172"/>
                    <a:pt x="100" y="173"/>
                    <a:pt x="86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0"/>
                    <a:pt x="85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3" name="Freeform 262">
              <a:extLst>
                <a:ext uri="{FF2B5EF4-FFF2-40B4-BE49-F238E27FC236}">
                  <a16:creationId xmlns:a16="http://schemas.microsoft.com/office/drawing/2014/main" id="{282D3650-27F0-E114-6842-875F73A9F8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13900" y="2120901"/>
              <a:ext cx="392113" cy="763588"/>
            </a:xfrm>
            <a:custGeom>
              <a:avLst/>
              <a:gdLst>
                <a:gd name="T0" fmla="*/ 99 w 104"/>
                <a:gd name="T1" fmla="*/ 4 h 202"/>
                <a:gd name="T2" fmla="*/ 58 w 104"/>
                <a:gd name="T3" fmla="*/ 0 h 202"/>
                <a:gd name="T4" fmla="*/ 0 w 104"/>
                <a:gd name="T5" fmla="*/ 43 h 202"/>
                <a:gd name="T6" fmla="*/ 0 w 104"/>
                <a:gd name="T7" fmla="*/ 196 h 202"/>
                <a:gd name="T8" fmla="*/ 5 w 104"/>
                <a:gd name="T9" fmla="*/ 202 h 202"/>
                <a:gd name="T10" fmla="*/ 29 w 104"/>
                <a:gd name="T11" fmla="*/ 202 h 202"/>
                <a:gd name="T12" fmla="*/ 35 w 104"/>
                <a:gd name="T13" fmla="*/ 196 h 202"/>
                <a:gd name="T14" fmla="*/ 35 w 104"/>
                <a:gd name="T15" fmla="*/ 51 h 202"/>
                <a:gd name="T16" fmla="*/ 67 w 104"/>
                <a:gd name="T17" fmla="*/ 30 h 202"/>
                <a:gd name="T18" fmla="*/ 98 w 104"/>
                <a:gd name="T19" fmla="*/ 30 h 202"/>
                <a:gd name="T20" fmla="*/ 104 w 104"/>
                <a:gd name="T21" fmla="*/ 25 h 202"/>
                <a:gd name="T22" fmla="*/ 104 w 104"/>
                <a:gd name="T23" fmla="*/ 10 h 202"/>
                <a:gd name="T24" fmla="*/ 99 w 104"/>
                <a:gd name="T25" fmla="*/ 4 h 202"/>
                <a:gd name="T26" fmla="*/ 99 w 104"/>
                <a:gd name="T27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202">
                  <a:moveTo>
                    <a:pt x="99" y="4"/>
                  </a:moveTo>
                  <a:cubicBezTo>
                    <a:pt x="92" y="1"/>
                    <a:pt x="67" y="0"/>
                    <a:pt x="58" y="0"/>
                  </a:cubicBezTo>
                  <a:cubicBezTo>
                    <a:pt x="37" y="0"/>
                    <a:pt x="0" y="1"/>
                    <a:pt x="0" y="43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0"/>
                    <a:pt x="2" y="202"/>
                    <a:pt x="5" y="202"/>
                  </a:cubicBezTo>
                  <a:cubicBezTo>
                    <a:pt x="29" y="202"/>
                    <a:pt x="29" y="202"/>
                    <a:pt x="29" y="202"/>
                  </a:cubicBezTo>
                  <a:cubicBezTo>
                    <a:pt x="33" y="202"/>
                    <a:pt x="35" y="200"/>
                    <a:pt x="35" y="19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35"/>
                    <a:pt x="41" y="30"/>
                    <a:pt x="6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102" y="31"/>
                    <a:pt x="104" y="29"/>
                    <a:pt x="104" y="25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6"/>
                    <a:pt x="102" y="5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4" name="Freeform 263">
              <a:extLst>
                <a:ext uri="{FF2B5EF4-FFF2-40B4-BE49-F238E27FC236}">
                  <a16:creationId xmlns:a16="http://schemas.microsoft.com/office/drawing/2014/main" id="{7EC5BA8A-0C85-818B-9F75-C07AE4B03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0" y="2325688"/>
              <a:ext cx="131763" cy="558800"/>
            </a:xfrm>
            <a:custGeom>
              <a:avLst/>
              <a:gdLst>
                <a:gd name="T0" fmla="*/ 29 w 35"/>
                <a:gd name="T1" fmla="*/ 0 h 148"/>
                <a:gd name="T2" fmla="*/ 5 w 35"/>
                <a:gd name="T3" fmla="*/ 0 h 148"/>
                <a:gd name="T4" fmla="*/ 0 w 35"/>
                <a:gd name="T5" fmla="*/ 6 h 148"/>
                <a:gd name="T6" fmla="*/ 0 w 35"/>
                <a:gd name="T7" fmla="*/ 142 h 148"/>
                <a:gd name="T8" fmla="*/ 5 w 35"/>
                <a:gd name="T9" fmla="*/ 148 h 148"/>
                <a:gd name="T10" fmla="*/ 29 w 35"/>
                <a:gd name="T11" fmla="*/ 148 h 148"/>
                <a:gd name="T12" fmla="*/ 35 w 35"/>
                <a:gd name="T13" fmla="*/ 142 h 148"/>
                <a:gd name="T14" fmla="*/ 35 w 35"/>
                <a:gd name="T15" fmla="*/ 6 h 148"/>
                <a:gd name="T16" fmla="*/ 29 w 35"/>
                <a:gd name="T17" fmla="*/ 0 h 148"/>
                <a:gd name="T18" fmla="*/ 29 w 35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48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5"/>
                    <a:pt x="2" y="148"/>
                    <a:pt x="5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2" y="148"/>
                    <a:pt x="35" y="145"/>
                    <a:pt x="35" y="142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2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6" name="Freeform 264">
              <a:extLst>
                <a:ext uri="{FF2B5EF4-FFF2-40B4-BE49-F238E27FC236}">
                  <a16:creationId xmlns:a16="http://schemas.microsoft.com/office/drawing/2014/main" id="{ADE2DF0B-C14E-B606-EA46-B83418B689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4013" y="595313"/>
              <a:ext cx="161925" cy="161925"/>
            </a:xfrm>
            <a:custGeom>
              <a:avLst/>
              <a:gdLst>
                <a:gd name="T0" fmla="*/ 21 w 43"/>
                <a:gd name="T1" fmla="*/ 43 h 43"/>
                <a:gd name="T2" fmla="*/ 43 w 43"/>
                <a:gd name="T3" fmla="*/ 21 h 43"/>
                <a:gd name="T4" fmla="*/ 21 w 43"/>
                <a:gd name="T5" fmla="*/ 0 h 43"/>
                <a:gd name="T6" fmla="*/ 0 w 43"/>
                <a:gd name="T7" fmla="*/ 21 h 43"/>
                <a:gd name="T8" fmla="*/ 21 w 43"/>
                <a:gd name="T9" fmla="*/ 43 h 43"/>
                <a:gd name="T10" fmla="*/ 21 w 43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43">
                  <a:moveTo>
                    <a:pt x="21" y="43"/>
                  </a:moveTo>
                  <a:cubicBezTo>
                    <a:pt x="36" y="43"/>
                    <a:pt x="43" y="35"/>
                    <a:pt x="43" y="21"/>
                  </a:cubicBezTo>
                  <a:cubicBezTo>
                    <a:pt x="43" y="7"/>
                    <a:pt x="36" y="0"/>
                    <a:pt x="21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35"/>
                    <a:pt x="7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7" name="Freeform 265">
              <a:extLst>
                <a:ext uri="{FF2B5EF4-FFF2-40B4-BE49-F238E27FC236}">
                  <a16:creationId xmlns:a16="http://schemas.microsoft.com/office/drawing/2014/main" id="{1BB99A5E-B21C-8F9C-26B1-3D70257B32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4688" y="606426"/>
              <a:ext cx="606425" cy="1046163"/>
            </a:xfrm>
            <a:custGeom>
              <a:avLst/>
              <a:gdLst>
                <a:gd name="T0" fmla="*/ 158 w 161"/>
                <a:gd name="T1" fmla="*/ 267 h 277"/>
                <a:gd name="T2" fmla="*/ 72 w 161"/>
                <a:gd name="T3" fmla="*/ 156 h 277"/>
                <a:gd name="T4" fmla="*/ 136 w 161"/>
                <a:gd name="T5" fmla="*/ 84 h 277"/>
                <a:gd name="T6" fmla="*/ 133 w 161"/>
                <a:gd name="T7" fmla="*/ 77 h 277"/>
                <a:gd name="T8" fmla="*/ 103 w 161"/>
                <a:gd name="T9" fmla="*/ 77 h 277"/>
                <a:gd name="T10" fmla="*/ 95 w 161"/>
                <a:gd name="T11" fmla="*/ 81 h 277"/>
                <a:gd name="T12" fmla="*/ 35 w 161"/>
                <a:gd name="T13" fmla="*/ 148 h 277"/>
                <a:gd name="T14" fmla="*/ 35 w 161"/>
                <a:gd name="T15" fmla="*/ 6 h 277"/>
                <a:gd name="T16" fmla="*/ 30 w 161"/>
                <a:gd name="T17" fmla="*/ 0 h 277"/>
                <a:gd name="T18" fmla="*/ 5 w 161"/>
                <a:gd name="T19" fmla="*/ 0 h 277"/>
                <a:gd name="T20" fmla="*/ 0 w 161"/>
                <a:gd name="T21" fmla="*/ 6 h 277"/>
                <a:gd name="T22" fmla="*/ 0 w 161"/>
                <a:gd name="T23" fmla="*/ 271 h 277"/>
                <a:gd name="T24" fmla="*/ 5 w 161"/>
                <a:gd name="T25" fmla="*/ 277 h 277"/>
                <a:gd name="T26" fmla="*/ 29 w 161"/>
                <a:gd name="T27" fmla="*/ 277 h 277"/>
                <a:gd name="T28" fmla="*/ 35 w 161"/>
                <a:gd name="T29" fmla="*/ 271 h 277"/>
                <a:gd name="T30" fmla="*/ 35 w 161"/>
                <a:gd name="T31" fmla="*/ 164 h 277"/>
                <a:gd name="T32" fmla="*/ 118 w 161"/>
                <a:gd name="T33" fmla="*/ 273 h 277"/>
                <a:gd name="T34" fmla="*/ 126 w 161"/>
                <a:gd name="T35" fmla="*/ 277 h 277"/>
                <a:gd name="T36" fmla="*/ 151 w 161"/>
                <a:gd name="T37" fmla="*/ 277 h 277"/>
                <a:gd name="T38" fmla="*/ 158 w 161"/>
                <a:gd name="T39" fmla="*/ 267 h 277"/>
                <a:gd name="T40" fmla="*/ 158 w 161"/>
                <a:gd name="T41" fmla="*/ 26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1" h="277">
                  <a:moveTo>
                    <a:pt x="158" y="267"/>
                  </a:moveTo>
                  <a:cubicBezTo>
                    <a:pt x="72" y="156"/>
                    <a:pt x="72" y="156"/>
                    <a:pt x="72" y="156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99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5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51" y="277"/>
                    <a:pt x="151" y="277"/>
                    <a:pt x="151" y="277"/>
                  </a:cubicBezTo>
                  <a:cubicBezTo>
                    <a:pt x="161" y="277"/>
                    <a:pt x="161" y="272"/>
                    <a:pt x="158" y="267"/>
                  </a:cubicBezTo>
                  <a:cubicBezTo>
                    <a:pt x="158" y="267"/>
                    <a:pt x="158" y="267"/>
                    <a:pt x="158" y="2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18" name="Freeform 266">
              <a:extLst>
                <a:ext uri="{FF2B5EF4-FFF2-40B4-BE49-F238E27FC236}">
                  <a16:creationId xmlns:a16="http://schemas.microsoft.com/office/drawing/2014/main" id="{E2A1DE6A-EB35-CFBA-DE07-5B5E55697F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6825" y="889001"/>
              <a:ext cx="546100" cy="771525"/>
            </a:xfrm>
            <a:custGeom>
              <a:avLst/>
              <a:gdLst>
                <a:gd name="T0" fmla="*/ 145 w 145"/>
                <a:gd name="T1" fmla="*/ 195 h 204"/>
                <a:gd name="T2" fmla="*/ 145 w 145"/>
                <a:gd name="T3" fmla="*/ 179 h 204"/>
                <a:gd name="T4" fmla="*/ 140 w 145"/>
                <a:gd name="T5" fmla="*/ 173 h 204"/>
                <a:gd name="T6" fmla="*/ 85 w 145"/>
                <a:gd name="T7" fmla="*/ 173 h 204"/>
                <a:gd name="T8" fmla="*/ 35 w 145"/>
                <a:gd name="T9" fmla="*/ 102 h 204"/>
                <a:gd name="T10" fmla="*/ 85 w 145"/>
                <a:gd name="T11" fmla="*/ 31 h 204"/>
                <a:gd name="T12" fmla="*/ 140 w 145"/>
                <a:gd name="T13" fmla="*/ 31 h 204"/>
                <a:gd name="T14" fmla="*/ 145 w 145"/>
                <a:gd name="T15" fmla="*/ 25 h 204"/>
                <a:gd name="T16" fmla="*/ 145 w 145"/>
                <a:gd name="T17" fmla="*/ 10 h 204"/>
                <a:gd name="T18" fmla="*/ 140 w 145"/>
                <a:gd name="T19" fmla="*/ 3 h 204"/>
                <a:gd name="T20" fmla="*/ 85 w 145"/>
                <a:gd name="T21" fmla="*/ 0 h 204"/>
                <a:gd name="T22" fmla="*/ 0 w 145"/>
                <a:gd name="T23" fmla="*/ 102 h 204"/>
                <a:gd name="T24" fmla="*/ 85 w 145"/>
                <a:gd name="T25" fmla="*/ 204 h 204"/>
                <a:gd name="T26" fmla="*/ 140 w 145"/>
                <a:gd name="T27" fmla="*/ 201 h 204"/>
                <a:gd name="T28" fmla="*/ 145 w 145"/>
                <a:gd name="T29" fmla="*/ 195 h 204"/>
                <a:gd name="T30" fmla="*/ 145 w 145"/>
                <a:gd name="T31" fmla="*/ 1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04">
                  <a:moveTo>
                    <a:pt x="145" y="195"/>
                  </a:moveTo>
                  <a:cubicBezTo>
                    <a:pt x="145" y="179"/>
                    <a:pt x="145" y="179"/>
                    <a:pt x="145" y="179"/>
                  </a:cubicBezTo>
                  <a:cubicBezTo>
                    <a:pt x="145" y="176"/>
                    <a:pt x="143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0" y="173"/>
                    <a:pt x="35" y="159"/>
                    <a:pt x="35" y="102"/>
                  </a:cubicBezTo>
                  <a:cubicBezTo>
                    <a:pt x="35" y="45"/>
                    <a:pt x="40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3" y="31"/>
                    <a:pt x="145" y="28"/>
                    <a:pt x="145" y="25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5" y="6"/>
                    <a:pt x="144" y="4"/>
                    <a:pt x="140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3" y="0"/>
                    <a:pt x="0" y="21"/>
                    <a:pt x="0" y="102"/>
                  </a:cubicBezTo>
                  <a:cubicBezTo>
                    <a:pt x="0" y="184"/>
                    <a:pt x="13" y="204"/>
                    <a:pt x="85" y="204"/>
                  </a:cubicBezTo>
                  <a:cubicBezTo>
                    <a:pt x="100" y="204"/>
                    <a:pt x="122" y="203"/>
                    <a:pt x="140" y="201"/>
                  </a:cubicBezTo>
                  <a:cubicBezTo>
                    <a:pt x="144" y="200"/>
                    <a:pt x="145" y="198"/>
                    <a:pt x="145" y="195"/>
                  </a:cubicBezTo>
                  <a:cubicBezTo>
                    <a:pt x="145" y="195"/>
                    <a:pt x="145" y="195"/>
                    <a:pt x="145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0" name="Freeform 267">
              <a:extLst>
                <a:ext uri="{FF2B5EF4-FFF2-40B4-BE49-F238E27FC236}">
                  <a16:creationId xmlns:a16="http://schemas.microsoft.com/office/drawing/2014/main" id="{6916B2E8-BE2F-E6BD-E273-0AF3E56F2B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5088" y="889001"/>
              <a:ext cx="620713" cy="771525"/>
            </a:xfrm>
            <a:custGeom>
              <a:avLst/>
              <a:gdLst>
                <a:gd name="T0" fmla="*/ 83 w 165"/>
                <a:gd name="T1" fmla="*/ 0 h 204"/>
                <a:gd name="T2" fmla="*/ 2 w 165"/>
                <a:gd name="T3" fmla="*/ 59 h 204"/>
                <a:gd name="T4" fmla="*/ 8 w 165"/>
                <a:gd name="T5" fmla="*/ 65 h 204"/>
                <a:gd name="T6" fmla="*/ 32 w 165"/>
                <a:gd name="T7" fmla="*/ 65 h 204"/>
                <a:gd name="T8" fmla="*/ 37 w 165"/>
                <a:gd name="T9" fmla="*/ 61 h 204"/>
                <a:gd name="T10" fmla="*/ 83 w 165"/>
                <a:gd name="T11" fmla="*/ 31 h 204"/>
                <a:gd name="T12" fmla="*/ 130 w 165"/>
                <a:gd name="T13" fmla="*/ 89 h 204"/>
                <a:gd name="T14" fmla="*/ 65 w 165"/>
                <a:gd name="T15" fmla="*/ 89 h 204"/>
                <a:gd name="T16" fmla="*/ 65 w 165"/>
                <a:gd name="T17" fmla="*/ 89 h 204"/>
                <a:gd name="T18" fmla="*/ 5 w 165"/>
                <a:gd name="T19" fmla="*/ 89 h 204"/>
                <a:gd name="T20" fmla="*/ 0 w 165"/>
                <a:gd name="T21" fmla="*/ 94 h 204"/>
                <a:gd name="T22" fmla="*/ 0 w 165"/>
                <a:gd name="T23" fmla="*/ 102 h 204"/>
                <a:gd name="T24" fmla="*/ 83 w 165"/>
                <a:gd name="T25" fmla="*/ 204 h 204"/>
                <a:gd name="T26" fmla="*/ 145 w 165"/>
                <a:gd name="T27" fmla="*/ 201 h 204"/>
                <a:gd name="T28" fmla="*/ 150 w 165"/>
                <a:gd name="T29" fmla="*/ 195 h 204"/>
                <a:gd name="T30" fmla="*/ 150 w 165"/>
                <a:gd name="T31" fmla="*/ 179 h 204"/>
                <a:gd name="T32" fmla="*/ 144 w 165"/>
                <a:gd name="T33" fmla="*/ 173 h 204"/>
                <a:gd name="T34" fmla="*/ 84 w 165"/>
                <a:gd name="T35" fmla="*/ 173 h 204"/>
                <a:gd name="T36" fmla="*/ 36 w 165"/>
                <a:gd name="T37" fmla="*/ 123 h 204"/>
                <a:gd name="T38" fmla="*/ 41 w 165"/>
                <a:gd name="T39" fmla="*/ 118 h 204"/>
                <a:gd name="T40" fmla="*/ 151 w 165"/>
                <a:gd name="T41" fmla="*/ 118 h 204"/>
                <a:gd name="T42" fmla="*/ 165 w 165"/>
                <a:gd name="T43" fmla="*/ 109 h 204"/>
                <a:gd name="T44" fmla="*/ 165 w 165"/>
                <a:gd name="T45" fmla="*/ 97 h 204"/>
                <a:gd name="T46" fmla="*/ 83 w 165"/>
                <a:gd name="T47" fmla="*/ 0 h 204"/>
                <a:gd name="T48" fmla="*/ 83 w 16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04">
                  <a:moveTo>
                    <a:pt x="83" y="0"/>
                  </a:moveTo>
                  <a:cubicBezTo>
                    <a:pt x="29" y="0"/>
                    <a:pt x="8" y="13"/>
                    <a:pt x="2" y="59"/>
                  </a:cubicBezTo>
                  <a:cubicBezTo>
                    <a:pt x="2" y="62"/>
                    <a:pt x="4" y="65"/>
                    <a:pt x="8" y="65"/>
                  </a:cubicBezTo>
                  <a:cubicBezTo>
                    <a:pt x="15" y="65"/>
                    <a:pt x="26" y="65"/>
                    <a:pt x="32" y="65"/>
                  </a:cubicBezTo>
                  <a:cubicBezTo>
                    <a:pt x="35" y="65"/>
                    <a:pt x="37" y="63"/>
                    <a:pt x="37" y="61"/>
                  </a:cubicBezTo>
                  <a:cubicBezTo>
                    <a:pt x="42" y="38"/>
                    <a:pt x="54" y="31"/>
                    <a:pt x="83" y="31"/>
                  </a:cubicBezTo>
                  <a:cubicBezTo>
                    <a:pt x="122" y="31"/>
                    <a:pt x="129" y="43"/>
                    <a:pt x="130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2" y="89"/>
                    <a:pt x="0" y="91"/>
                    <a:pt x="0" y="94"/>
                  </a:cubicBezTo>
                  <a:cubicBezTo>
                    <a:pt x="0" y="96"/>
                    <a:pt x="0" y="99"/>
                    <a:pt x="0" y="102"/>
                  </a:cubicBezTo>
                  <a:cubicBezTo>
                    <a:pt x="0" y="184"/>
                    <a:pt x="15" y="204"/>
                    <a:pt x="83" y="204"/>
                  </a:cubicBezTo>
                  <a:cubicBezTo>
                    <a:pt x="106" y="204"/>
                    <a:pt x="126" y="203"/>
                    <a:pt x="145" y="201"/>
                  </a:cubicBezTo>
                  <a:cubicBezTo>
                    <a:pt x="148" y="200"/>
                    <a:pt x="150" y="198"/>
                    <a:pt x="150" y="195"/>
                  </a:cubicBezTo>
                  <a:cubicBezTo>
                    <a:pt x="150" y="179"/>
                    <a:pt x="150" y="179"/>
                    <a:pt x="150" y="179"/>
                  </a:cubicBezTo>
                  <a:cubicBezTo>
                    <a:pt x="150" y="176"/>
                    <a:pt x="147" y="173"/>
                    <a:pt x="144" y="173"/>
                  </a:cubicBezTo>
                  <a:cubicBezTo>
                    <a:pt x="84" y="173"/>
                    <a:pt x="84" y="173"/>
                    <a:pt x="84" y="173"/>
                  </a:cubicBezTo>
                  <a:cubicBezTo>
                    <a:pt x="47" y="173"/>
                    <a:pt x="37" y="163"/>
                    <a:pt x="36" y="123"/>
                  </a:cubicBezTo>
                  <a:cubicBezTo>
                    <a:pt x="36" y="120"/>
                    <a:pt x="38" y="118"/>
                    <a:pt x="4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62" y="118"/>
                    <a:pt x="165" y="116"/>
                    <a:pt x="165" y="109"/>
                  </a:cubicBezTo>
                  <a:cubicBezTo>
                    <a:pt x="165" y="97"/>
                    <a:pt x="165" y="97"/>
                    <a:pt x="165" y="97"/>
                  </a:cubicBezTo>
                  <a:cubicBezTo>
                    <a:pt x="164" y="19"/>
                    <a:pt x="14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1" name="Freeform 268">
              <a:extLst>
                <a:ext uri="{FF2B5EF4-FFF2-40B4-BE49-F238E27FC236}">
                  <a16:creationId xmlns:a16="http://schemas.microsoft.com/office/drawing/2014/main" id="{026C005B-B9D4-30C4-22B1-3D96E4E29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5088" y="606426"/>
              <a:ext cx="609600" cy="1046163"/>
            </a:xfrm>
            <a:custGeom>
              <a:avLst/>
              <a:gdLst>
                <a:gd name="T0" fmla="*/ 126 w 162"/>
                <a:gd name="T1" fmla="*/ 277 h 277"/>
                <a:gd name="T2" fmla="*/ 152 w 162"/>
                <a:gd name="T3" fmla="*/ 277 h 277"/>
                <a:gd name="T4" fmla="*/ 158 w 162"/>
                <a:gd name="T5" fmla="*/ 267 h 277"/>
                <a:gd name="T6" fmla="*/ 72 w 162"/>
                <a:gd name="T7" fmla="*/ 156 h 277"/>
                <a:gd name="T8" fmla="*/ 137 w 162"/>
                <a:gd name="T9" fmla="*/ 84 h 277"/>
                <a:gd name="T10" fmla="*/ 133 w 162"/>
                <a:gd name="T11" fmla="*/ 77 h 277"/>
                <a:gd name="T12" fmla="*/ 103 w 162"/>
                <a:gd name="T13" fmla="*/ 77 h 277"/>
                <a:gd name="T14" fmla="*/ 95 w 162"/>
                <a:gd name="T15" fmla="*/ 81 h 277"/>
                <a:gd name="T16" fmla="*/ 35 w 162"/>
                <a:gd name="T17" fmla="*/ 148 h 277"/>
                <a:gd name="T18" fmla="*/ 35 w 162"/>
                <a:gd name="T19" fmla="*/ 6 h 277"/>
                <a:gd name="T20" fmla="*/ 30 w 162"/>
                <a:gd name="T21" fmla="*/ 0 h 277"/>
                <a:gd name="T22" fmla="*/ 6 w 162"/>
                <a:gd name="T23" fmla="*/ 0 h 277"/>
                <a:gd name="T24" fmla="*/ 0 w 162"/>
                <a:gd name="T25" fmla="*/ 6 h 277"/>
                <a:gd name="T26" fmla="*/ 0 w 162"/>
                <a:gd name="T27" fmla="*/ 271 h 277"/>
                <a:gd name="T28" fmla="*/ 6 w 162"/>
                <a:gd name="T29" fmla="*/ 277 h 277"/>
                <a:gd name="T30" fmla="*/ 30 w 162"/>
                <a:gd name="T31" fmla="*/ 277 h 277"/>
                <a:gd name="T32" fmla="*/ 35 w 162"/>
                <a:gd name="T33" fmla="*/ 271 h 277"/>
                <a:gd name="T34" fmla="*/ 35 w 162"/>
                <a:gd name="T35" fmla="*/ 164 h 277"/>
                <a:gd name="T36" fmla="*/ 118 w 162"/>
                <a:gd name="T37" fmla="*/ 273 h 277"/>
                <a:gd name="T38" fmla="*/ 126 w 162"/>
                <a:gd name="T39" fmla="*/ 277 h 277"/>
                <a:gd name="T40" fmla="*/ 126 w 162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277">
                  <a:moveTo>
                    <a:pt x="126" y="277"/>
                  </a:moveTo>
                  <a:cubicBezTo>
                    <a:pt x="152" y="277"/>
                    <a:pt x="152" y="277"/>
                    <a:pt x="152" y="277"/>
                  </a:cubicBezTo>
                  <a:cubicBezTo>
                    <a:pt x="162" y="277"/>
                    <a:pt x="161" y="272"/>
                    <a:pt x="158" y="26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140" y="80"/>
                    <a:pt x="140" y="77"/>
                    <a:pt x="13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0" y="77"/>
                    <a:pt x="97" y="78"/>
                    <a:pt x="95" y="81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3" y="277"/>
                    <a:pt x="35" y="275"/>
                    <a:pt x="35" y="271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120" y="275"/>
                    <a:pt x="122" y="277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2" name="Freeform 269">
              <a:extLst>
                <a:ext uri="{FF2B5EF4-FFF2-40B4-BE49-F238E27FC236}">
                  <a16:creationId xmlns:a16="http://schemas.microsoft.com/office/drawing/2014/main" id="{324AED24-63CD-E5B6-7FBA-294BF99696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638" y="889001"/>
              <a:ext cx="550863" cy="771525"/>
            </a:xfrm>
            <a:custGeom>
              <a:avLst/>
              <a:gdLst>
                <a:gd name="T0" fmla="*/ 142 w 146"/>
                <a:gd name="T1" fmla="*/ 201 h 204"/>
                <a:gd name="T2" fmla="*/ 146 w 146"/>
                <a:gd name="T3" fmla="*/ 195 h 204"/>
                <a:gd name="T4" fmla="*/ 146 w 146"/>
                <a:gd name="T5" fmla="*/ 179 h 204"/>
                <a:gd name="T6" fmla="*/ 140 w 146"/>
                <a:gd name="T7" fmla="*/ 173 h 204"/>
                <a:gd name="T8" fmla="*/ 85 w 146"/>
                <a:gd name="T9" fmla="*/ 173 h 204"/>
                <a:gd name="T10" fmla="*/ 35 w 146"/>
                <a:gd name="T11" fmla="*/ 102 h 204"/>
                <a:gd name="T12" fmla="*/ 85 w 146"/>
                <a:gd name="T13" fmla="*/ 31 h 204"/>
                <a:gd name="T14" fmla="*/ 140 w 146"/>
                <a:gd name="T15" fmla="*/ 31 h 204"/>
                <a:gd name="T16" fmla="*/ 146 w 146"/>
                <a:gd name="T17" fmla="*/ 25 h 204"/>
                <a:gd name="T18" fmla="*/ 146 w 146"/>
                <a:gd name="T19" fmla="*/ 8 h 204"/>
                <a:gd name="T20" fmla="*/ 141 w 146"/>
                <a:gd name="T21" fmla="*/ 3 h 204"/>
                <a:gd name="T22" fmla="*/ 85 w 146"/>
                <a:gd name="T23" fmla="*/ 0 h 204"/>
                <a:gd name="T24" fmla="*/ 0 w 146"/>
                <a:gd name="T25" fmla="*/ 102 h 204"/>
                <a:gd name="T26" fmla="*/ 85 w 146"/>
                <a:gd name="T27" fmla="*/ 204 h 204"/>
                <a:gd name="T28" fmla="*/ 142 w 146"/>
                <a:gd name="T29" fmla="*/ 201 h 204"/>
                <a:gd name="T30" fmla="*/ 142 w 146"/>
                <a:gd name="T31" fmla="*/ 20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04">
                  <a:moveTo>
                    <a:pt x="142" y="201"/>
                  </a:moveTo>
                  <a:cubicBezTo>
                    <a:pt x="145" y="200"/>
                    <a:pt x="146" y="198"/>
                    <a:pt x="146" y="195"/>
                  </a:cubicBezTo>
                  <a:cubicBezTo>
                    <a:pt x="146" y="179"/>
                    <a:pt x="146" y="179"/>
                    <a:pt x="146" y="179"/>
                  </a:cubicBezTo>
                  <a:cubicBezTo>
                    <a:pt x="146" y="175"/>
                    <a:pt x="144" y="173"/>
                    <a:pt x="140" y="173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41" y="173"/>
                    <a:pt x="35" y="159"/>
                    <a:pt x="35" y="102"/>
                  </a:cubicBezTo>
                  <a:cubicBezTo>
                    <a:pt x="35" y="45"/>
                    <a:pt x="41" y="31"/>
                    <a:pt x="85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4" y="31"/>
                    <a:pt x="146" y="29"/>
                    <a:pt x="146" y="25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5"/>
                    <a:pt x="144" y="4"/>
                    <a:pt x="141" y="3"/>
                  </a:cubicBezTo>
                  <a:cubicBezTo>
                    <a:pt x="122" y="1"/>
                    <a:pt x="100" y="0"/>
                    <a:pt x="85" y="0"/>
                  </a:cubicBezTo>
                  <a:cubicBezTo>
                    <a:pt x="14" y="0"/>
                    <a:pt x="0" y="21"/>
                    <a:pt x="0" y="102"/>
                  </a:cubicBezTo>
                  <a:cubicBezTo>
                    <a:pt x="0" y="184"/>
                    <a:pt x="14" y="204"/>
                    <a:pt x="85" y="204"/>
                  </a:cubicBezTo>
                  <a:cubicBezTo>
                    <a:pt x="100" y="204"/>
                    <a:pt x="123" y="203"/>
                    <a:pt x="142" y="201"/>
                  </a:cubicBezTo>
                  <a:cubicBezTo>
                    <a:pt x="142" y="201"/>
                    <a:pt x="142" y="201"/>
                    <a:pt x="142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3" name="Freeform 270">
              <a:extLst>
                <a:ext uri="{FF2B5EF4-FFF2-40B4-BE49-F238E27FC236}">
                  <a16:creationId xmlns:a16="http://schemas.microsoft.com/office/drawing/2014/main" id="{665A2A51-CAD9-72BB-0A14-9AD126090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0538" y="889001"/>
              <a:ext cx="644525" cy="771525"/>
            </a:xfrm>
            <a:custGeom>
              <a:avLst/>
              <a:gdLst>
                <a:gd name="T0" fmla="*/ 86 w 171"/>
                <a:gd name="T1" fmla="*/ 204 h 204"/>
                <a:gd name="T2" fmla="*/ 171 w 171"/>
                <a:gd name="T3" fmla="*/ 102 h 204"/>
                <a:gd name="T4" fmla="*/ 86 w 171"/>
                <a:gd name="T5" fmla="*/ 0 h 204"/>
                <a:gd name="T6" fmla="*/ 0 w 171"/>
                <a:gd name="T7" fmla="*/ 102 h 204"/>
                <a:gd name="T8" fmla="*/ 86 w 171"/>
                <a:gd name="T9" fmla="*/ 204 h 204"/>
                <a:gd name="T10" fmla="*/ 86 w 171"/>
                <a:gd name="T11" fmla="*/ 204 h 204"/>
                <a:gd name="T12" fmla="*/ 86 w 171"/>
                <a:gd name="T13" fmla="*/ 31 h 204"/>
                <a:gd name="T14" fmla="*/ 136 w 171"/>
                <a:gd name="T15" fmla="*/ 102 h 204"/>
                <a:gd name="T16" fmla="*/ 86 w 171"/>
                <a:gd name="T17" fmla="*/ 173 h 204"/>
                <a:gd name="T18" fmla="*/ 36 w 171"/>
                <a:gd name="T19" fmla="*/ 102 h 204"/>
                <a:gd name="T20" fmla="*/ 86 w 171"/>
                <a:gd name="T21" fmla="*/ 31 h 204"/>
                <a:gd name="T22" fmla="*/ 86 w 171"/>
                <a:gd name="T23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04">
                  <a:moveTo>
                    <a:pt x="86" y="204"/>
                  </a:moveTo>
                  <a:cubicBezTo>
                    <a:pt x="156" y="204"/>
                    <a:pt x="171" y="184"/>
                    <a:pt x="171" y="102"/>
                  </a:cubicBezTo>
                  <a:cubicBezTo>
                    <a:pt x="171" y="21"/>
                    <a:pt x="156" y="0"/>
                    <a:pt x="86" y="0"/>
                  </a:cubicBezTo>
                  <a:cubicBezTo>
                    <a:pt x="15" y="0"/>
                    <a:pt x="0" y="21"/>
                    <a:pt x="0" y="102"/>
                  </a:cubicBezTo>
                  <a:cubicBezTo>
                    <a:pt x="0" y="184"/>
                    <a:pt x="15" y="204"/>
                    <a:pt x="86" y="204"/>
                  </a:cubicBezTo>
                  <a:cubicBezTo>
                    <a:pt x="86" y="204"/>
                    <a:pt x="86" y="204"/>
                    <a:pt x="86" y="204"/>
                  </a:cubicBezTo>
                  <a:close/>
                  <a:moveTo>
                    <a:pt x="86" y="31"/>
                  </a:moveTo>
                  <a:cubicBezTo>
                    <a:pt x="130" y="31"/>
                    <a:pt x="136" y="45"/>
                    <a:pt x="136" y="102"/>
                  </a:cubicBezTo>
                  <a:cubicBezTo>
                    <a:pt x="136" y="159"/>
                    <a:pt x="130" y="173"/>
                    <a:pt x="86" y="173"/>
                  </a:cubicBezTo>
                  <a:cubicBezTo>
                    <a:pt x="41" y="173"/>
                    <a:pt x="36" y="159"/>
                    <a:pt x="36" y="102"/>
                  </a:cubicBezTo>
                  <a:cubicBezTo>
                    <a:pt x="36" y="45"/>
                    <a:pt x="41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4" name="Freeform 271">
              <a:extLst>
                <a:ext uri="{FF2B5EF4-FFF2-40B4-BE49-F238E27FC236}">
                  <a16:creationId xmlns:a16="http://schemas.microsoft.com/office/drawing/2014/main" id="{FB891E1D-7871-B5D5-F052-C291F1902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5" y="598488"/>
              <a:ext cx="765175" cy="1062038"/>
            </a:xfrm>
            <a:custGeom>
              <a:avLst/>
              <a:gdLst>
                <a:gd name="T0" fmla="*/ 197 w 203"/>
                <a:gd name="T1" fmla="*/ 142 h 281"/>
                <a:gd name="T2" fmla="*/ 173 w 203"/>
                <a:gd name="T3" fmla="*/ 142 h 281"/>
                <a:gd name="T4" fmla="*/ 167 w 203"/>
                <a:gd name="T5" fmla="*/ 148 h 281"/>
                <a:gd name="T6" fmla="*/ 167 w 203"/>
                <a:gd name="T7" fmla="*/ 249 h 281"/>
                <a:gd name="T8" fmla="*/ 112 w 203"/>
                <a:gd name="T9" fmla="*/ 249 h 281"/>
                <a:gd name="T10" fmla="*/ 37 w 203"/>
                <a:gd name="T11" fmla="*/ 141 h 281"/>
                <a:gd name="T12" fmla="*/ 112 w 203"/>
                <a:gd name="T13" fmla="*/ 33 h 281"/>
                <a:gd name="T14" fmla="*/ 182 w 203"/>
                <a:gd name="T15" fmla="*/ 33 h 281"/>
                <a:gd name="T16" fmla="*/ 188 w 203"/>
                <a:gd name="T17" fmla="*/ 27 h 281"/>
                <a:gd name="T18" fmla="*/ 188 w 203"/>
                <a:gd name="T19" fmla="*/ 10 h 281"/>
                <a:gd name="T20" fmla="*/ 182 w 203"/>
                <a:gd name="T21" fmla="*/ 4 h 281"/>
                <a:gd name="T22" fmla="*/ 112 w 203"/>
                <a:gd name="T23" fmla="*/ 0 h 281"/>
                <a:gd name="T24" fmla="*/ 0 w 203"/>
                <a:gd name="T25" fmla="*/ 141 h 281"/>
                <a:gd name="T26" fmla="*/ 112 w 203"/>
                <a:gd name="T27" fmla="*/ 281 h 281"/>
                <a:gd name="T28" fmla="*/ 201 w 203"/>
                <a:gd name="T29" fmla="*/ 265 h 281"/>
                <a:gd name="T30" fmla="*/ 203 w 203"/>
                <a:gd name="T31" fmla="*/ 257 h 281"/>
                <a:gd name="T32" fmla="*/ 203 w 203"/>
                <a:gd name="T33" fmla="*/ 148 h 281"/>
                <a:gd name="T34" fmla="*/ 197 w 203"/>
                <a:gd name="T35" fmla="*/ 142 h 281"/>
                <a:gd name="T36" fmla="*/ 197 w 203"/>
                <a:gd name="T37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281">
                  <a:moveTo>
                    <a:pt x="197" y="142"/>
                  </a:moveTo>
                  <a:cubicBezTo>
                    <a:pt x="173" y="142"/>
                    <a:pt x="173" y="142"/>
                    <a:pt x="173" y="142"/>
                  </a:cubicBezTo>
                  <a:cubicBezTo>
                    <a:pt x="170" y="142"/>
                    <a:pt x="167" y="145"/>
                    <a:pt x="167" y="148"/>
                  </a:cubicBezTo>
                  <a:cubicBezTo>
                    <a:pt x="167" y="249"/>
                    <a:pt x="167" y="249"/>
                    <a:pt x="167" y="249"/>
                  </a:cubicBezTo>
                  <a:cubicBezTo>
                    <a:pt x="112" y="249"/>
                    <a:pt x="112" y="249"/>
                    <a:pt x="112" y="249"/>
                  </a:cubicBezTo>
                  <a:cubicBezTo>
                    <a:pt x="48" y="249"/>
                    <a:pt x="37" y="225"/>
                    <a:pt x="37" y="141"/>
                  </a:cubicBezTo>
                  <a:cubicBezTo>
                    <a:pt x="37" y="57"/>
                    <a:pt x="48" y="33"/>
                    <a:pt x="112" y="33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5" y="33"/>
                    <a:pt x="188" y="30"/>
                    <a:pt x="188" y="27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6"/>
                    <a:pt x="186" y="4"/>
                    <a:pt x="182" y="4"/>
                  </a:cubicBezTo>
                  <a:cubicBezTo>
                    <a:pt x="164" y="1"/>
                    <a:pt x="134" y="0"/>
                    <a:pt x="112" y="0"/>
                  </a:cubicBezTo>
                  <a:cubicBezTo>
                    <a:pt x="22" y="0"/>
                    <a:pt x="0" y="32"/>
                    <a:pt x="0" y="141"/>
                  </a:cubicBezTo>
                  <a:cubicBezTo>
                    <a:pt x="0" y="250"/>
                    <a:pt x="22" y="281"/>
                    <a:pt x="112" y="281"/>
                  </a:cubicBezTo>
                  <a:cubicBezTo>
                    <a:pt x="144" y="281"/>
                    <a:pt x="194" y="281"/>
                    <a:pt x="201" y="265"/>
                  </a:cubicBezTo>
                  <a:cubicBezTo>
                    <a:pt x="202" y="263"/>
                    <a:pt x="203" y="261"/>
                    <a:pt x="203" y="257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203" y="145"/>
                    <a:pt x="200" y="142"/>
                    <a:pt x="197" y="142"/>
                  </a:cubicBezTo>
                  <a:cubicBezTo>
                    <a:pt x="197" y="142"/>
                    <a:pt x="197" y="142"/>
                    <a:pt x="197" y="14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5" name="Freeform 272">
              <a:extLst>
                <a:ext uri="{FF2B5EF4-FFF2-40B4-BE49-F238E27FC236}">
                  <a16:creationId xmlns:a16="http://schemas.microsoft.com/office/drawing/2014/main" id="{188D3A47-B168-4DA2-2F6F-C713AA875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7150" y="606426"/>
              <a:ext cx="134938" cy="1046163"/>
            </a:xfrm>
            <a:custGeom>
              <a:avLst/>
              <a:gdLst>
                <a:gd name="T0" fmla="*/ 6 w 36"/>
                <a:gd name="T1" fmla="*/ 277 h 277"/>
                <a:gd name="T2" fmla="*/ 30 w 36"/>
                <a:gd name="T3" fmla="*/ 277 h 277"/>
                <a:gd name="T4" fmla="*/ 36 w 36"/>
                <a:gd name="T5" fmla="*/ 272 h 277"/>
                <a:gd name="T6" fmla="*/ 36 w 36"/>
                <a:gd name="T7" fmla="*/ 6 h 277"/>
                <a:gd name="T8" fmla="*/ 30 w 36"/>
                <a:gd name="T9" fmla="*/ 0 h 277"/>
                <a:gd name="T10" fmla="*/ 6 w 36"/>
                <a:gd name="T11" fmla="*/ 0 h 277"/>
                <a:gd name="T12" fmla="*/ 0 w 36"/>
                <a:gd name="T13" fmla="*/ 6 h 277"/>
                <a:gd name="T14" fmla="*/ 0 w 36"/>
                <a:gd name="T15" fmla="*/ 272 h 277"/>
                <a:gd name="T16" fmla="*/ 6 w 36"/>
                <a:gd name="T17" fmla="*/ 277 h 277"/>
                <a:gd name="T18" fmla="*/ 6 w 36"/>
                <a:gd name="T1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77">
                  <a:moveTo>
                    <a:pt x="6" y="277"/>
                  </a:moveTo>
                  <a:cubicBezTo>
                    <a:pt x="30" y="277"/>
                    <a:pt x="30" y="277"/>
                    <a:pt x="30" y="277"/>
                  </a:cubicBezTo>
                  <a:cubicBezTo>
                    <a:pt x="34" y="277"/>
                    <a:pt x="36" y="275"/>
                    <a:pt x="36" y="272"/>
                  </a:cubicBezTo>
                  <a:cubicBezTo>
                    <a:pt x="36" y="183"/>
                    <a:pt x="36" y="94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4"/>
                    <a:pt x="0" y="183"/>
                    <a:pt x="0" y="272"/>
                  </a:cubicBezTo>
                  <a:cubicBezTo>
                    <a:pt x="0" y="275"/>
                    <a:pt x="2" y="277"/>
                    <a:pt x="6" y="277"/>
                  </a:cubicBezTo>
                  <a:cubicBezTo>
                    <a:pt x="6" y="277"/>
                    <a:pt x="6" y="277"/>
                    <a:pt x="6" y="2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6" name="Freeform 273">
              <a:extLst>
                <a:ext uri="{FF2B5EF4-FFF2-40B4-BE49-F238E27FC236}">
                  <a16:creationId xmlns:a16="http://schemas.microsoft.com/office/drawing/2014/main" id="{F08AE1B6-B5D7-D31E-D13D-164758129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75125" y="896938"/>
              <a:ext cx="136525" cy="755650"/>
            </a:xfrm>
            <a:custGeom>
              <a:avLst/>
              <a:gdLst>
                <a:gd name="T0" fmla="*/ 30 w 36"/>
                <a:gd name="T1" fmla="*/ 0 h 200"/>
                <a:gd name="T2" fmla="*/ 6 w 36"/>
                <a:gd name="T3" fmla="*/ 0 h 200"/>
                <a:gd name="T4" fmla="*/ 0 w 36"/>
                <a:gd name="T5" fmla="*/ 6 h 200"/>
                <a:gd name="T6" fmla="*/ 0 w 36"/>
                <a:gd name="T7" fmla="*/ 195 h 200"/>
                <a:gd name="T8" fmla="*/ 6 w 36"/>
                <a:gd name="T9" fmla="*/ 200 h 200"/>
                <a:gd name="T10" fmla="*/ 30 w 36"/>
                <a:gd name="T11" fmla="*/ 200 h 200"/>
                <a:gd name="T12" fmla="*/ 36 w 36"/>
                <a:gd name="T13" fmla="*/ 195 h 200"/>
                <a:gd name="T14" fmla="*/ 36 w 36"/>
                <a:gd name="T15" fmla="*/ 6 h 200"/>
                <a:gd name="T16" fmla="*/ 30 w 36"/>
                <a:gd name="T17" fmla="*/ 0 h 200"/>
                <a:gd name="T18" fmla="*/ 30 w 36"/>
                <a:gd name="T1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00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69"/>
                    <a:pt x="0" y="132"/>
                    <a:pt x="0" y="195"/>
                  </a:cubicBezTo>
                  <a:cubicBezTo>
                    <a:pt x="0" y="198"/>
                    <a:pt x="2" y="200"/>
                    <a:pt x="6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4" y="200"/>
                    <a:pt x="36" y="198"/>
                    <a:pt x="36" y="195"/>
                  </a:cubicBezTo>
                  <a:cubicBezTo>
                    <a:pt x="36" y="132"/>
                    <a:pt x="36" y="69"/>
                    <a:pt x="36" y="6"/>
                  </a:cubicBezTo>
                  <a:cubicBezTo>
                    <a:pt x="36" y="2"/>
                    <a:pt x="3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7" name="Freeform 274">
              <a:extLst>
                <a:ext uri="{FF2B5EF4-FFF2-40B4-BE49-F238E27FC236}">
                  <a16:creationId xmlns:a16="http://schemas.microsoft.com/office/drawing/2014/main" id="{E5D3665D-1F1D-64B6-43E1-3DFF900AB5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606426"/>
              <a:ext cx="682625" cy="120650"/>
            </a:xfrm>
            <a:custGeom>
              <a:avLst/>
              <a:gdLst>
                <a:gd name="T0" fmla="*/ 176 w 181"/>
                <a:gd name="T1" fmla="*/ 0 h 32"/>
                <a:gd name="T2" fmla="*/ 5 w 181"/>
                <a:gd name="T3" fmla="*/ 0 h 32"/>
                <a:gd name="T4" fmla="*/ 0 w 181"/>
                <a:gd name="T5" fmla="*/ 6 h 32"/>
                <a:gd name="T6" fmla="*/ 0 w 181"/>
                <a:gd name="T7" fmla="*/ 27 h 32"/>
                <a:gd name="T8" fmla="*/ 5 w 181"/>
                <a:gd name="T9" fmla="*/ 32 h 32"/>
                <a:gd name="T10" fmla="*/ 176 w 181"/>
                <a:gd name="T11" fmla="*/ 32 h 32"/>
                <a:gd name="T12" fmla="*/ 181 w 181"/>
                <a:gd name="T13" fmla="*/ 27 h 32"/>
                <a:gd name="T14" fmla="*/ 181 w 181"/>
                <a:gd name="T15" fmla="*/ 6 h 32"/>
                <a:gd name="T16" fmla="*/ 176 w 181"/>
                <a:gd name="T17" fmla="*/ 0 h 32"/>
                <a:gd name="T18" fmla="*/ 176 w 18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32">
                  <a:moveTo>
                    <a:pt x="176" y="0"/>
                  </a:moveTo>
                  <a:cubicBezTo>
                    <a:pt x="119" y="0"/>
                    <a:pt x="62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3"/>
                    <a:pt x="0" y="20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62" y="32"/>
                    <a:pt x="119" y="32"/>
                    <a:pt x="176" y="32"/>
                  </a:cubicBezTo>
                  <a:cubicBezTo>
                    <a:pt x="179" y="32"/>
                    <a:pt x="181" y="30"/>
                    <a:pt x="181" y="27"/>
                  </a:cubicBezTo>
                  <a:cubicBezTo>
                    <a:pt x="181" y="20"/>
                    <a:pt x="181" y="13"/>
                    <a:pt x="181" y="6"/>
                  </a:cubicBezTo>
                  <a:cubicBezTo>
                    <a:pt x="181" y="3"/>
                    <a:pt x="179" y="0"/>
                    <a:pt x="176" y="0"/>
                  </a:cubicBezTo>
                  <a:cubicBezTo>
                    <a:pt x="176" y="0"/>
                    <a:pt x="176" y="0"/>
                    <a:pt x="1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8" name="Freeform 275">
              <a:extLst>
                <a:ext uri="{FF2B5EF4-FFF2-40B4-BE49-F238E27FC236}">
                  <a16:creationId xmlns:a16="http://schemas.microsoft.com/office/drawing/2014/main" id="{3C597A4A-7BAF-ED98-7B96-E3C8270AF4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74988" y="820738"/>
              <a:ext cx="636588" cy="831850"/>
            </a:xfrm>
            <a:custGeom>
              <a:avLst/>
              <a:gdLst>
                <a:gd name="T0" fmla="*/ 35 w 169"/>
                <a:gd name="T1" fmla="*/ 26 h 220"/>
                <a:gd name="T2" fmla="*/ 35 w 169"/>
                <a:gd name="T3" fmla="*/ 5 h 220"/>
                <a:gd name="T4" fmla="*/ 30 w 169"/>
                <a:gd name="T5" fmla="*/ 0 h 220"/>
                <a:gd name="T6" fmla="*/ 5 w 169"/>
                <a:gd name="T7" fmla="*/ 0 h 220"/>
                <a:gd name="T8" fmla="*/ 0 w 169"/>
                <a:gd name="T9" fmla="*/ 5 h 220"/>
                <a:gd name="T10" fmla="*/ 0 w 169"/>
                <a:gd name="T11" fmla="*/ 215 h 220"/>
                <a:gd name="T12" fmla="*/ 5 w 169"/>
                <a:gd name="T13" fmla="*/ 220 h 220"/>
                <a:gd name="T14" fmla="*/ 30 w 169"/>
                <a:gd name="T15" fmla="*/ 220 h 220"/>
                <a:gd name="T16" fmla="*/ 35 w 169"/>
                <a:gd name="T17" fmla="*/ 215 h 220"/>
                <a:gd name="T18" fmla="*/ 35 w 169"/>
                <a:gd name="T19" fmla="*/ 102 h 220"/>
                <a:gd name="T20" fmla="*/ 163 w 169"/>
                <a:gd name="T21" fmla="*/ 102 h 220"/>
                <a:gd name="T22" fmla="*/ 169 w 169"/>
                <a:gd name="T23" fmla="*/ 96 h 220"/>
                <a:gd name="T24" fmla="*/ 169 w 169"/>
                <a:gd name="T25" fmla="*/ 75 h 220"/>
                <a:gd name="T26" fmla="*/ 163 w 169"/>
                <a:gd name="T27" fmla="*/ 70 h 220"/>
                <a:gd name="T28" fmla="*/ 35 w 169"/>
                <a:gd name="T29" fmla="*/ 70 h 220"/>
                <a:gd name="T30" fmla="*/ 35 w 169"/>
                <a:gd name="T31" fmla="*/ 26 h 220"/>
                <a:gd name="T32" fmla="*/ 35 w 169"/>
                <a:gd name="T33" fmla="*/ 26 h 220"/>
                <a:gd name="T34" fmla="*/ 35 w 169"/>
                <a:gd name="T35" fmla="*/ 26 h 220"/>
                <a:gd name="T36" fmla="*/ 35 w 169"/>
                <a:gd name="T37" fmla="*/ 26 h 220"/>
                <a:gd name="T38" fmla="*/ 35 w 169"/>
                <a:gd name="T39" fmla="*/ 26 h 220"/>
                <a:gd name="T40" fmla="*/ 35 w 169"/>
                <a:gd name="T41" fmla="*/ 2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220">
                  <a:moveTo>
                    <a:pt x="35" y="26"/>
                  </a:moveTo>
                  <a:cubicBezTo>
                    <a:pt x="35" y="19"/>
                    <a:pt x="35" y="12"/>
                    <a:pt x="35" y="5"/>
                  </a:cubicBezTo>
                  <a:cubicBezTo>
                    <a:pt x="35" y="1"/>
                    <a:pt x="33" y="0"/>
                    <a:pt x="30" y="0"/>
                  </a:cubicBezTo>
                  <a:cubicBezTo>
                    <a:pt x="22" y="0"/>
                    <a:pt x="13" y="0"/>
                    <a:pt x="5" y="0"/>
                  </a:cubicBezTo>
                  <a:cubicBezTo>
                    <a:pt x="2" y="0"/>
                    <a:pt x="0" y="1"/>
                    <a:pt x="0" y="5"/>
                  </a:cubicBezTo>
                  <a:cubicBezTo>
                    <a:pt x="0" y="75"/>
                    <a:pt x="0" y="145"/>
                    <a:pt x="0" y="215"/>
                  </a:cubicBezTo>
                  <a:cubicBezTo>
                    <a:pt x="0" y="218"/>
                    <a:pt x="2" y="220"/>
                    <a:pt x="5" y="220"/>
                  </a:cubicBezTo>
                  <a:cubicBezTo>
                    <a:pt x="13" y="220"/>
                    <a:pt x="22" y="220"/>
                    <a:pt x="30" y="220"/>
                  </a:cubicBezTo>
                  <a:cubicBezTo>
                    <a:pt x="33" y="220"/>
                    <a:pt x="35" y="218"/>
                    <a:pt x="35" y="215"/>
                  </a:cubicBezTo>
                  <a:cubicBezTo>
                    <a:pt x="35" y="177"/>
                    <a:pt x="35" y="140"/>
                    <a:pt x="35" y="102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6" y="102"/>
                    <a:pt x="169" y="99"/>
                    <a:pt x="169" y="96"/>
                  </a:cubicBezTo>
                  <a:cubicBezTo>
                    <a:pt x="169" y="89"/>
                    <a:pt x="169" y="82"/>
                    <a:pt x="169" y="75"/>
                  </a:cubicBezTo>
                  <a:cubicBezTo>
                    <a:pt x="169" y="72"/>
                    <a:pt x="166" y="70"/>
                    <a:pt x="163" y="70"/>
                  </a:cubicBezTo>
                  <a:cubicBezTo>
                    <a:pt x="120" y="70"/>
                    <a:pt x="78" y="70"/>
                    <a:pt x="35" y="70"/>
                  </a:cubicBezTo>
                  <a:cubicBezTo>
                    <a:pt x="35" y="55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ubicBezTo>
                    <a:pt x="35" y="19"/>
                    <a:pt x="35" y="41"/>
                    <a:pt x="35" y="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29" name="Freeform 276">
              <a:extLst>
                <a:ext uri="{FF2B5EF4-FFF2-40B4-BE49-F238E27FC236}">
                  <a16:creationId xmlns:a16="http://schemas.microsoft.com/office/drawing/2014/main" id="{A070046E-AFA7-9B6C-7B0E-97C5E6DD88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4338" y="1838326"/>
              <a:ext cx="633413" cy="1054100"/>
            </a:xfrm>
            <a:custGeom>
              <a:avLst/>
              <a:gdLst>
                <a:gd name="T0" fmla="*/ 168 w 168"/>
                <a:gd name="T1" fmla="*/ 177 h 279"/>
                <a:gd name="T2" fmla="*/ 84 w 168"/>
                <a:gd name="T3" fmla="*/ 75 h 279"/>
                <a:gd name="T4" fmla="*/ 35 w 168"/>
                <a:gd name="T5" fmla="*/ 77 h 279"/>
                <a:gd name="T6" fmla="*/ 35 w 168"/>
                <a:gd name="T7" fmla="*/ 5 h 279"/>
                <a:gd name="T8" fmla="*/ 30 w 168"/>
                <a:gd name="T9" fmla="*/ 0 h 279"/>
                <a:gd name="T10" fmla="*/ 6 w 168"/>
                <a:gd name="T11" fmla="*/ 0 h 279"/>
                <a:gd name="T12" fmla="*/ 0 w 168"/>
                <a:gd name="T13" fmla="*/ 5 h 279"/>
                <a:gd name="T14" fmla="*/ 0 w 168"/>
                <a:gd name="T15" fmla="*/ 100 h 279"/>
                <a:gd name="T16" fmla="*/ 6 w 168"/>
                <a:gd name="T17" fmla="*/ 105 h 279"/>
                <a:gd name="T18" fmla="*/ 35 w 168"/>
                <a:gd name="T19" fmla="*/ 105 h 279"/>
                <a:gd name="T20" fmla="*/ 35 w 168"/>
                <a:gd name="T21" fmla="*/ 105 h 279"/>
                <a:gd name="T22" fmla="*/ 82 w 168"/>
                <a:gd name="T23" fmla="*/ 105 h 279"/>
                <a:gd name="T24" fmla="*/ 133 w 168"/>
                <a:gd name="T25" fmla="*/ 177 h 279"/>
                <a:gd name="T26" fmla="*/ 83 w 168"/>
                <a:gd name="T27" fmla="*/ 248 h 279"/>
                <a:gd name="T28" fmla="*/ 35 w 168"/>
                <a:gd name="T29" fmla="*/ 245 h 279"/>
                <a:gd name="T30" fmla="*/ 35 w 168"/>
                <a:gd name="T31" fmla="*/ 135 h 279"/>
                <a:gd name="T32" fmla="*/ 30 w 168"/>
                <a:gd name="T33" fmla="*/ 130 h 279"/>
                <a:gd name="T34" fmla="*/ 6 w 168"/>
                <a:gd name="T35" fmla="*/ 130 h 279"/>
                <a:gd name="T36" fmla="*/ 0 w 168"/>
                <a:gd name="T37" fmla="*/ 135 h 279"/>
                <a:gd name="T38" fmla="*/ 0 w 168"/>
                <a:gd name="T39" fmla="*/ 267 h 279"/>
                <a:gd name="T40" fmla="*/ 6 w 168"/>
                <a:gd name="T41" fmla="*/ 273 h 279"/>
                <a:gd name="T42" fmla="*/ 82 w 168"/>
                <a:gd name="T43" fmla="*/ 279 h 279"/>
                <a:gd name="T44" fmla="*/ 168 w 168"/>
                <a:gd name="T45" fmla="*/ 177 h 279"/>
                <a:gd name="T46" fmla="*/ 168 w 168"/>
                <a:gd name="T47" fmla="*/ 17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279">
                  <a:moveTo>
                    <a:pt x="168" y="177"/>
                  </a:moveTo>
                  <a:cubicBezTo>
                    <a:pt x="168" y="96"/>
                    <a:pt x="153" y="75"/>
                    <a:pt x="84" y="75"/>
                  </a:cubicBezTo>
                  <a:cubicBezTo>
                    <a:pt x="63" y="75"/>
                    <a:pt x="47" y="76"/>
                    <a:pt x="35" y="77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5"/>
                    <a:pt x="6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127" y="105"/>
                    <a:pt x="133" y="119"/>
                    <a:pt x="133" y="177"/>
                  </a:cubicBezTo>
                  <a:cubicBezTo>
                    <a:pt x="133" y="233"/>
                    <a:pt x="128" y="248"/>
                    <a:pt x="83" y="248"/>
                  </a:cubicBezTo>
                  <a:cubicBezTo>
                    <a:pt x="68" y="248"/>
                    <a:pt x="50" y="247"/>
                    <a:pt x="35" y="24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5" y="132"/>
                    <a:pt x="33" y="130"/>
                    <a:pt x="30" y="130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3" y="130"/>
                    <a:pt x="0" y="132"/>
                    <a:pt x="0" y="135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1"/>
                    <a:pt x="2" y="272"/>
                    <a:pt x="6" y="273"/>
                  </a:cubicBezTo>
                  <a:cubicBezTo>
                    <a:pt x="38" y="278"/>
                    <a:pt x="55" y="279"/>
                    <a:pt x="82" y="279"/>
                  </a:cubicBezTo>
                  <a:cubicBezTo>
                    <a:pt x="153" y="279"/>
                    <a:pt x="168" y="258"/>
                    <a:pt x="168" y="177"/>
                  </a:cubicBezTo>
                  <a:cubicBezTo>
                    <a:pt x="168" y="177"/>
                    <a:pt x="168" y="177"/>
                    <a:pt x="168" y="17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5" name="Freeform 277">
              <a:extLst>
                <a:ext uri="{FF2B5EF4-FFF2-40B4-BE49-F238E27FC236}">
                  <a16:creationId xmlns:a16="http://schemas.microsoft.com/office/drawing/2014/main" id="{769CAB6F-6928-8370-B293-EE9144187B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3200" y="2454276"/>
              <a:ext cx="600075" cy="438150"/>
            </a:xfrm>
            <a:custGeom>
              <a:avLst/>
              <a:gdLst>
                <a:gd name="T0" fmla="*/ 153 w 159"/>
                <a:gd name="T1" fmla="*/ 0 h 116"/>
                <a:gd name="T2" fmla="*/ 123 w 159"/>
                <a:gd name="T3" fmla="*/ 0 h 116"/>
                <a:gd name="T4" fmla="*/ 65 w 159"/>
                <a:gd name="T5" fmla="*/ 0 h 116"/>
                <a:gd name="T6" fmla="*/ 0 w 159"/>
                <a:gd name="T7" fmla="*/ 57 h 116"/>
                <a:gd name="T8" fmla="*/ 71 w 159"/>
                <a:gd name="T9" fmla="*/ 116 h 116"/>
                <a:gd name="T10" fmla="*/ 152 w 159"/>
                <a:gd name="T11" fmla="*/ 108 h 116"/>
                <a:gd name="T12" fmla="*/ 159 w 159"/>
                <a:gd name="T13" fmla="*/ 97 h 116"/>
                <a:gd name="T14" fmla="*/ 159 w 159"/>
                <a:gd name="T15" fmla="*/ 5 h 116"/>
                <a:gd name="T16" fmla="*/ 153 w 159"/>
                <a:gd name="T17" fmla="*/ 0 h 116"/>
                <a:gd name="T18" fmla="*/ 124 w 159"/>
                <a:gd name="T19" fmla="*/ 81 h 116"/>
                <a:gd name="T20" fmla="*/ 77 w 159"/>
                <a:gd name="T21" fmla="*/ 86 h 116"/>
                <a:gd name="T22" fmla="*/ 35 w 159"/>
                <a:gd name="T23" fmla="*/ 56 h 116"/>
                <a:gd name="T24" fmla="*/ 65 w 159"/>
                <a:gd name="T25" fmla="*/ 29 h 116"/>
                <a:gd name="T26" fmla="*/ 124 w 159"/>
                <a:gd name="T27" fmla="*/ 29 h 116"/>
                <a:gd name="T28" fmla="*/ 124 w 159"/>
                <a:gd name="T2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16">
                  <a:moveTo>
                    <a:pt x="15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0" y="13"/>
                    <a:pt x="0" y="57"/>
                  </a:cubicBezTo>
                  <a:cubicBezTo>
                    <a:pt x="0" y="106"/>
                    <a:pt x="22" y="116"/>
                    <a:pt x="71" y="116"/>
                  </a:cubicBezTo>
                  <a:cubicBezTo>
                    <a:pt x="107" y="116"/>
                    <a:pt x="139" y="112"/>
                    <a:pt x="152" y="108"/>
                  </a:cubicBezTo>
                  <a:cubicBezTo>
                    <a:pt x="159" y="105"/>
                    <a:pt x="159" y="101"/>
                    <a:pt x="159" y="9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6" y="0"/>
                    <a:pt x="153" y="0"/>
                  </a:cubicBezTo>
                  <a:close/>
                  <a:moveTo>
                    <a:pt x="124" y="81"/>
                  </a:moveTo>
                  <a:cubicBezTo>
                    <a:pt x="110" y="85"/>
                    <a:pt x="88" y="86"/>
                    <a:pt x="77" y="86"/>
                  </a:cubicBezTo>
                  <a:cubicBezTo>
                    <a:pt x="47" y="86"/>
                    <a:pt x="35" y="80"/>
                    <a:pt x="35" y="56"/>
                  </a:cubicBezTo>
                  <a:cubicBezTo>
                    <a:pt x="35" y="35"/>
                    <a:pt x="45" y="29"/>
                    <a:pt x="65" y="29"/>
                  </a:cubicBezTo>
                  <a:cubicBezTo>
                    <a:pt x="124" y="29"/>
                    <a:pt x="124" y="29"/>
                    <a:pt x="124" y="29"/>
                  </a:cubicBezTo>
                  <a:lnTo>
                    <a:pt x="124" y="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  <p:sp>
          <p:nvSpPr>
            <p:cNvPr id="56" name="Freeform 278">
              <a:extLst>
                <a:ext uri="{FF2B5EF4-FFF2-40B4-BE49-F238E27FC236}">
                  <a16:creationId xmlns:a16="http://schemas.microsoft.com/office/drawing/2014/main" id="{6DDD7D56-850A-427E-E17F-2C21C2F0B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0350" y="2120901"/>
              <a:ext cx="542925" cy="242888"/>
            </a:xfrm>
            <a:custGeom>
              <a:avLst/>
              <a:gdLst>
                <a:gd name="T0" fmla="*/ 144 w 144"/>
                <a:gd name="T1" fmla="*/ 59 h 64"/>
                <a:gd name="T2" fmla="*/ 144 w 144"/>
                <a:gd name="T3" fmla="*/ 57 h 64"/>
                <a:gd name="T4" fmla="*/ 61 w 144"/>
                <a:gd name="T5" fmla="*/ 0 h 64"/>
                <a:gd name="T6" fmla="*/ 6 w 144"/>
                <a:gd name="T7" fmla="*/ 4 h 64"/>
                <a:gd name="T8" fmla="*/ 0 w 144"/>
                <a:gd name="T9" fmla="*/ 10 h 64"/>
                <a:gd name="T10" fmla="*/ 0 w 144"/>
                <a:gd name="T11" fmla="*/ 25 h 64"/>
                <a:gd name="T12" fmla="*/ 6 w 144"/>
                <a:gd name="T13" fmla="*/ 31 h 64"/>
                <a:gd name="T14" fmla="*/ 61 w 144"/>
                <a:gd name="T15" fmla="*/ 31 h 64"/>
                <a:gd name="T16" fmla="*/ 108 w 144"/>
                <a:gd name="T17" fmla="*/ 59 h 64"/>
                <a:gd name="T18" fmla="*/ 114 w 144"/>
                <a:gd name="T19" fmla="*/ 64 h 64"/>
                <a:gd name="T20" fmla="*/ 115 w 144"/>
                <a:gd name="T21" fmla="*/ 64 h 64"/>
                <a:gd name="T22" fmla="*/ 123 w 144"/>
                <a:gd name="T23" fmla="*/ 64 h 64"/>
                <a:gd name="T24" fmla="*/ 138 w 144"/>
                <a:gd name="T25" fmla="*/ 64 h 64"/>
                <a:gd name="T26" fmla="*/ 144 w 144"/>
                <a:gd name="T27" fmla="*/ 59 h 64"/>
                <a:gd name="T28" fmla="*/ 144 w 144"/>
                <a:gd name="T29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64">
                  <a:moveTo>
                    <a:pt x="144" y="59"/>
                  </a:moveTo>
                  <a:cubicBezTo>
                    <a:pt x="144" y="57"/>
                    <a:pt x="144" y="57"/>
                    <a:pt x="144" y="57"/>
                  </a:cubicBezTo>
                  <a:cubicBezTo>
                    <a:pt x="144" y="17"/>
                    <a:pt x="118" y="0"/>
                    <a:pt x="61" y="0"/>
                  </a:cubicBezTo>
                  <a:cubicBezTo>
                    <a:pt x="46" y="0"/>
                    <a:pt x="27" y="1"/>
                    <a:pt x="6" y="4"/>
                  </a:cubicBezTo>
                  <a:cubicBezTo>
                    <a:pt x="2" y="5"/>
                    <a:pt x="0" y="6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95" y="30"/>
                    <a:pt x="107" y="41"/>
                    <a:pt x="108" y="59"/>
                  </a:cubicBezTo>
                  <a:cubicBezTo>
                    <a:pt x="109" y="61"/>
                    <a:pt x="109" y="64"/>
                    <a:pt x="114" y="64"/>
                  </a:cubicBezTo>
                  <a:cubicBezTo>
                    <a:pt x="115" y="64"/>
                    <a:pt x="115" y="64"/>
                    <a:pt x="115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41" y="64"/>
                    <a:pt x="144" y="62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99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02666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81934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9353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3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1608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5173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3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6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3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4431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6013097" y="-829699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9257908" y="4194002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943018" y="419399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6013097" y="-151436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9257908" y="3514238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943018" y="351423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6013097" y="-2198880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9257908" y="2816045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943018" y="281604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6013096" y="-2887265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257908" y="2127073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943018" y="213629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3096" y="-3576238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257908" y="1447317"/>
            <a:ext cx="2437753" cy="495287"/>
          </a:xfrm>
        </p:spPr>
        <p:txBody>
          <a:bodyPr vert="horz" anchor="b" anchorCtr="0"/>
          <a:lstStyle>
            <a:lvl1pPr marL="571482" indent="-571482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943018" y="1428884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1" y="532579"/>
            <a:ext cx="11200050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2" name="Agendapunkt Nummer">
            <a:extLst>
              <a:ext uri="{FF2B5EF4-FFF2-40B4-BE49-F238E27FC236}">
                <a16:creationId xmlns:a16="http://schemas.microsoft.com/office/drawing/2014/main" id="{EEDF02CE-75B2-4EE1-A17D-97F2454C8A69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 rot="5400000" flipH="1">
            <a:off x="6017700" y="-152144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3" name="Agendapunkt Nummer">
            <a:extLst>
              <a:ext uri="{FF2B5EF4-FFF2-40B4-BE49-F238E27FC236}">
                <a16:creationId xmlns:a16="http://schemas.microsoft.com/office/drawing/2014/main" id="{BED1F686-C1CF-44B8-8622-C9259F9246BD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 rot="5400000" flipH="1">
            <a:off x="5994656" y="534472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4" name="Agendapunkt Text">
            <a:extLst>
              <a:ext uri="{FF2B5EF4-FFF2-40B4-BE49-F238E27FC236}">
                <a16:creationId xmlns:a16="http://schemas.microsoft.com/office/drawing/2014/main" id="{3A54381B-B9AC-4F5F-892A-3D0D4D6C3084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1947623" y="4871403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5" name="Agendapunkt Text">
            <a:extLst>
              <a:ext uri="{FF2B5EF4-FFF2-40B4-BE49-F238E27FC236}">
                <a16:creationId xmlns:a16="http://schemas.microsoft.com/office/drawing/2014/main" id="{510637A8-62AA-4934-8AEE-2FF9CE8675FC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>
            <a:off x="1947620" y="5553410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</p:spTree>
    <p:extLst>
      <p:ext uri="{BB962C8B-B14F-4D97-AF65-F5344CB8AC3E}">
        <p14:creationId xmlns:p14="http://schemas.microsoft.com/office/powerpoint/2010/main" val="3743213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47685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476848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476960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486065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486064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486286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95280" y="4438531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95279" y="2705027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95611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541284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942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7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261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31963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33174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0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40933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7202006" y="1885899"/>
            <a:ext cx="4989994" cy="4019441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9541" y="2247919"/>
            <a:ext cx="5715472" cy="3657489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10448270" y="-448298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96641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4" pos="4286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515">
          <p15:clr>
            <a:srgbClr val="FBAE40"/>
          </p15:clr>
        </p15:guide>
        <p15:guide id="8" pos="3991">
          <p15:clr>
            <a:srgbClr val="FBAE40"/>
          </p15:clr>
        </p15:guide>
        <p15:guide id="9" orient="horz" pos="112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1416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94" indent="0">
              <a:buNone/>
              <a:defRPr sz="2800"/>
            </a:lvl2pPr>
            <a:lvl3pPr marL="914389" indent="0">
              <a:buNone/>
              <a:defRPr sz="2400"/>
            </a:lvl3pPr>
            <a:lvl4pPr marL="1371583" indent="0">
              <a:buNone/>
              <a:defRPr sz="2000"/>
            </a:lvl4pPr>
            <a:lvl5pPr marL="1828777" indent="0">
              <a:buNone/>
              <a:defRPr sz="2000"/>
            </a:lvl5pPr>
            <a:lvl6pPr marL="2285971" indent="0">
              <a:buNone/>
              <a:defRPr sz="2000"/>
            </a:lvl6pPr>
            <a:lvl7pPr marL="2743167" indent="0">
              <a:buNone/>
              <a:defRPr sz="2000"/>
            </a:lvl7pPr>
            <a:lvl8pPr marL="3200361" indent="0">
              <a:buNone/>
              <a:defRPr sz="2000"/>
            </a:lvl8pPr>
            <a:lvl9pPr marL="3657555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3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8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49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3297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33167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768437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71550" y="2024062"/>
            <a:ext cx="7918450" cy="4357687"/>
          </a:xfrm>
        </p:spPr>
        <p:txBody>
          <a:bodyPr/>
          <a:lstStyle>
            <a:lvl1pPr marL="342900" indent="-342900">
              <a:buClr>
                <a:schemeClr val="accent1"/>
              </a:buClr>
              <a:buSzPct val="150000"/>
              <a:buFont typeface="+mj-lt"/>
              <a:buAutoNum type="arabicPeriod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42925" indent="-18732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err="1"/>
              <a:t>uiluiilzu</a:t>
            </a:r>
            <a:endParaRPr lang="de-DE"/>
          </a:p>
          <a:p>
            <a:pPr lvl="0"/>
            <a:r>
              <a:rPr lang="de-DE" err="1"/>
              <a:t>hkfhkfhk</a:t>
            </a:r>
            <a:endParaRPr lang="de-DE"/>
          </a:p>
          <a:p>
            <a:pPr lvl="0"/>
            <a:r>
              <a:rPr lang="de-DE" err="1"/>
              <a:t>fhkfhkf</a:t>
            </a:r>
            <a:endParaRPr lang="de-DE"/>
          </a:p>
          <a:p>
            <a:pPr lvl="0"/>
            <a:r>
              <a:rPr lang="de-DE" err="1"/>
              <a:t>fhkfh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33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0" tIns="48385" rIns="96770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2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19532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900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7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89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439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3354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D0B02A-0363-4415-AC77-32F9123E7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0470" y="1199583"/>
            <a:ext cx="11498186" cy="365125"/>
          </a:xfrm>
        </p:spPr>
        <p:txBody>
          <a:bodyPr/>
          <a:lstStyle>
            <a:lvl1pPr>
              <a:defRPr sz="1900">
                <a:solidFill>
                  <a:srgbClr val="797979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6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0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0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0E3358-C060-4195-95CE-2B8A3CA2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0"/>
            <a:ext cx="6045524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21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4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image" Target="../media/image15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image" Target="../media/image12.emf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51A0DAF-1245-6C88-5866-895936CE6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5420866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7772400" imgH="10058400" progId="TCLayout.ActiveDocument.1">
                  <p:embed/>
                </p:oleObj>
              </mc:Choice>
              <mc:Fallback>
                <p:oleObj name="think-cell Folie" r:id="rId37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1A0DAF-1245-6C88-5866-895936CE6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297B2C86-1810-4AEC-9246-07871921A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/>
          <a:srcRect l="3641" t="15323" r="2125" b="24064"/>
          <a:stretch/>
        </p:blipFill>
        <p:spPr>
          <a:xfrm>
            <a:off x="0" y="7936"/>
            <a:ext cx="12192000" cy="6850064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E80B343-998D-4F93-B63D-0091F1E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83" y="702600"/>
            <a:ext cx="10936210" cy="5492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476B55-AB53-492A-B48A-1D564D274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459" y="2028841"/>
            <a:ext cx="10938654" cy="39811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66ADD2-B7C9-44E6-904E-E0A04E8B9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2" y="6492876"/>
            <a:ext cx="5464097" cy="329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E41863-3824-4E29-92ED-A76F54A73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Bildplatzhalter 17">
            <a:extLst>
              <a:ext uri="{FF2B5EF4-FFF2-40B4-BE49-F238E27FC236}">
                <a16:creationId xmlns:a16="http://schemas.microsoft.com/office/drawing/2014/main" id="{A449EA72-816B-4CBD-A537-D1C49C5D2E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 cstate="print">
            <a:duotone>
              <a:prstClr val="black"/>
              <a:srgbClr val="ADAD9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400" b="-6815"/>
          <a:stretch/>
        </p:blipFill>
        <p:spPr>
          <a:xfrm>
            <a:off x="8926383" y="-1727199"/>
            <a:ext cx="3749310" cy="4310742"/>
          </a:xfrm>
          <a:prstGeom prst="roundRect">
            <a:avLst>
              <a:gd name="adj" fmla="val 2269"/>
            </a:avLst>
          </a:prstGeom>
        </p:spPr>
      </p:pic>
      <p:pic>
        <p:nvPicPr>
          <p:cNvPr id="11" name="Catena-X Logo">
            <a:extLst>
              <a:ext uri="{FF2B5EF4-FFF2-40B4-BE49-F238E27FC236}">
                <a16:creationId xmlns:a16="http://schemas.microsoft.com/office/drawing/2014/main" id="{58F96065-1831-4D92-BAD4-2267206BF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95F34AF-D442-B9C2-7152-1D925118FDD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9341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60" r:id="rId19"/>
    <p:sldLayoutId id="2147483764" r:id="rId20"/>
    <p:sldLayoutId id="2147483822" r:id="rId21"/>
    <p:sldLayoutId id="2147483827" r:id="rId22"/>
    <p:sldLayoutId id="2147483828" r:id="rId23"/>
    <p:sldLayoutId id="2147483829" r:id="rId24"/>
    <p:sldLayoutId id="2147483845" r:id="rId25"/>
    <p:sldLayoutId id="2147483846" r:id="rId26"/>
    <p:sldLayoutId id="2147483847" r:id="rId27"/>
    <p:sldLayoutId id="2147483850" r:id="rId28"/>
    <p:sldLayoutId id="2147483851" r:id="rId29"/>
    <p:sldLayoutId id="2147483852" r:id="rId30"/>
    <p:sldLayoutId id="2147483854" r:id="rId31"/>
    <p:sldLayoutId id="2147483856" r:id="rId32"/>
    <p:sldLayoutId id="2147483858" r:id="rId33"/>
    <p:sldLayoutId id="2147483917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Tx/>
        <a:buNone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182563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358775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7673">
          <p15:clr>
            <a:srgbClr val="F26B43"/>
          </p15:clr>
        </p15:guide>
        <p15:guide id="4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1275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40">
          <p15:clr>
            <a:srgbClr val="F26B43"/>
          </p15:clr>
        </p15:guide>
        <p15:guide id="11" pos="3772">
          <p15:clr>
            <a:srgbClr val="F26B43"/>
          </p15:clr>
        </p15:guide>
        <p15:guide id="12" pos="39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C16025-814E-C968-EECA-78244E1B2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549330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7772400" imgH="10058400" progId="TCLayout.ActiveDocument.1">
                  <p:embed/>
                </p:oleObj>
              </mc:Choice>
              <mc:Fallback>
                <p:oleObj name="think-cell Folie" r:id="rId22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C16025-814E-C968-EECA-78244E1B2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368" y="6190248"/>
            <a:ext cx="323292" cy="342891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05508" y="6324429"/>
            <a:ext cx="380984" cy="133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5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09" y="6324429"/>
            <a:ext cx="4762298" cy="1333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35" spc="-11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9540" y="2247919"/>
            <a:ext cx="10706121" cy="36574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532579"/>
            <a:ext cx="11200050" cy="1142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5279" y="380990"/>
            <a:ext cx="514328" cy="1904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1005" b="1">
                <a:solidFill>
                  <a:schemeClr val="tx1"/>
                </a:solidFill>
              </a:defRPr>
            </a:lvl1pPr>
            <a:lvl2pPr marL="0" algn="l">
              <a:defRPr sz="1005" b="1"/>
            </a:lvl2pPr>
            <a:lvl3pPr marL="0" algn="l">
              <a:defRPr sz="1005" b="1"/>
            </a:lvl3pPr>
            <a:lvl4pPr marL="0" algn="l">
              <a:defRPr sz="1005" b="1"/>
            </a:lvl4pPr>
            <a:lvl5pPr marL="0" algn="l">
              <a:defRPr sz="1005" b="1"/>
            </a:lvl5pPr>
            <a:lvl6pPr marL="0" algn="l">
              <a:defRPr sz="1005" b="1"/>
            </a:lvl6pPr>
            <a:lvl7pPr marL="0" algn="l">
              <a:defRPr sz="1005" b="1"/>
            </a:lvl7pPr>
            <a:lvl8pPr marL="0" algn="l">
              <a:defRPr sz="1005" b="1"/>
            </a:lvl8pPr>
            <a:lvl9pPr marL="0" algn="l">
              <a:defRPr sz="1005" b="1"/>
            </a:lvl9pPr>
          </a:lstStyle>
          <a:p>
            <a:endParaRPr lang="de-DE"/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523936" y="-493602"/>
            <a:ext cx="15163158" cy="76562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9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8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</a:t>
              </a:r>
              <a:r>
                <a:rPr lang="de-DE" sz="952" b="1" baseline="0" err="1">
                  <a:solidFill>
                    <a:schemeClr val="tx1"/>
                  </a:solidFill>
                  <a:latin typeface="+mn-lt"/>
                </a:rPr>
                <a:t>Kopfund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Fußzeile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6713D43-B7EB-51FE-80B2-FC9AAF4034C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03100" y="6576060"/>
            <a:ext cx="203200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SI" sz="6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939338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</p:sldLayoutIdLst>
  <p:hf hdr="0" dt="0"/>
  <p:txStyles>
    <p:titleStyle>
      <a:lvl1pPr marL="0" indent="0" algn="l" defTabSz="914389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492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14371" indent="-914371" algn="l" defTabSz="914389" rtl="0" eaLnBrk="1" latinLnBrk="0" hangingPunct="1">
        <a:lnSpc>
          <a:spcPct val="95000"/>
        </a:lnSpc>
        <a:spcBef>
          <a:spcPts val="2117"/>
        </a:spcBef>
        <a:spcAft>
          <a:spcPts val="635"/>
        </a:spcAft>
        <a:buSzPct val="170000"/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64" indent="-228593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89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4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9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5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6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emf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4.svg"/><Relationship Id="rId12" Type="http://schemas.openxmlformats.org/officeDocument/2006/relationships/image" Target="../media/image69.png"/><Relationship Id="rId17" Type="http://schemas.openxmlformats.org/officeDocument/2006/relationships/image" Target="../media/image7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3.png"/><Relationship Id="rId1" Type="http://schemas.openxmlformats.org/officeDocument/2006/relationships/tags" Target="../tags/tag14.xml"/><Relationship Id="rId6" Type="http://schemas.openxmlformats.org/officeDocument/2006/relationships/image" Target="../media/image63.png"/><Relationship Id="rId11" Type="http://schemas.openxmlformats.org/officeDocument/2006/relationships/image" Target="../media/image68.svg"/><Relationship Id="rId5" Type="http://schemas.openxmlformats.org/officeDocument/2006/relationships/image" Target="../media/image21.emf"/><Relationship Id="rId15" Type="http://schemas.openxmlformats.org/officeDocument/2006/relationships/image" Target="../media/image72.svg"/><Relationship Id="rId10" Type="http://schemas.openxmlformats.org/officeDocument/2006/relationships/image" Target="../media/image6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6.svg"/><Relationship Id="rId14" Type="http://schemas.openxmlformats.org/officeDocument/2006/relationships/image" Target="../media/image7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svg"/><Relationship Id="rId18" Type="http://schemas.openxmlformats.org/officeDocument/2006/relationships/image" Target="../media/image87.png"/><Relationship Id="rId26" Type="http://schemas.openxmlformats.org/officeDocument/2006/relationships/image" Target="../media/image93.png"/><Relationship Id="rId3" Type="http://schemas.openxmlformats.org/officeDocument/2006/relationships/notesSlide" Target="../notesSlides/notesSlide11.xml"/><Relationship Id="rId21" Type="http://schemas.openxmlformats.org/officeDocument/2006/relationships/image" Target="../media/image90.svg"/><Relationship Id="rId7" Type="http://schemas.openxmlformats.org/officeDocument/2006/relationships/image" Target="../media/image76.svg"/><Relationship Id="rId12" Type="http://schemas.openxmlformats.org/officeDocument/2006/relationships/image" Target="../media/image81.png"/><Relationship Id="rId17" Type="http://schemas.openxmlformats.org/officeDocument/2006/relationships/image" Target="../media/image86.svg"/><Relationship Id="rId25" Type="http://schemas.openxmlformats.org/officeDocument/2006/relationships/image" Target="../media/image92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89.png"/><Relationship Id="rId1" Type="http://schemas.openxmlformats.org/officeDocument/2006/relationships/tags" Target="../tags/tag15.xml"/><Relationship Id="rId6" Type="http://schemas.openxmlformats.org/officeDocument/2006/relationships/image" Target="../media/image75.png"/><Relationship Id="rId11" Type="http://schemas.openxmlformats.org/officeDocument/2006/relationships/image" Target="../media/image80.svg"/><Relationship Id="rId24" Type="http://schemas.openxmlformats.org/officeDocument/2006/relationships/image" Target="../media/image91.png"/><Relationship Id="rId5" Type="http://schemas.openxmlformats.org/officeDocument/2006/relationships/image" Target="../media/image21.emf"/><Relationship Id="rId15" Type="http://schemas.openxmlformats.org/officeDocument/2006/relationships/image" Target="../media/image84.svg"/><Relationship Id="rId23" Type="http://schemas.openxmlformats.org/officeDocument/2006/relationships/image" Target="../media/image41.svg"/><Relationship Id="rId10" Type="http://schemas.openxmlformats.org/officeDocument/2006/relationships/image" Target="../media/image79.png"/><Relationship Id="rId19" Type="http://schemas.openxmlformats.org/officeDocument/2006/relationships/image" Target="../media/image88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78.svg"/><Relationship Id="rId14" Type="http://schemas.openxmlformats.org/officeDocument/2006/relationships/image" Target="../media/image83.png"/><Relationship Id="rId22" Type="http://schemas.openxmlformats.org/officeDocument/2006/relationships/image" Target="../media/image40.png"/><Relationship Id="rId27" Type="http://schemas.openxmlformats.org/officeDocument/2006/relationships/image" Target="../media/image94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2.svg"/><Relationship Id="rId18" Type="http://schemas.openxmlformats.org/officeDocument/2006/relationships/image" Target="../media/image38.png"/><Relationship Id="rId26" Type="http://schemas.openxmlformats.org/officeDocument/2006/relationships/image" Target="../media/image111.png"/><Relationship Id="rId3" Type="http://schemas.openxmlformats.org/officeDocument/2006/relationships/notesSlide" Target="../notesSlides/notesSlide12.xml"/><Relationship Id="rId21" Type="http://schemas.openxmlformats.org/officeDocument/2006/relationships/image" Target="../media/image106.svg"/><Relationship Id="rId7" Type="http://schemas.openxmlformats.org/officeDocument/2006/relationships/image" Target="../media/image96.svg"/><Relationship Id="rId12" Type="http://schemas.openxmlformats.org/officeDocument/2006/relationships/image" Target="../media/image101.png"/><Relationship Id="rId17" Type="http://schemas.openxmlformats.org/officeDocument/2006/relationships/image" Target="../media/image31.svg"/><Relationship Id="rId25" Type="http://schemas.openxmlformats.org/officeDocument/2006/relationships/image" Target="../media/image110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30.png"/><Relationship Id="rId20" Type="http://schemas.openxmlformats.org/officeDocument/2006/relationships/image" Target="../media/image105.png"/><Relationship Id="rId29" Type="http://schemas.openxmlformats.org/officeDocument/2006/relationships/image" Target="../media/image114.svg"/><Relationship Id="rId1" Type="http://schemas.openxmlformats.org/officeDocument/2006/relationships/tags" Target="../tags/tag16.xml"/><Relationship Id="rId6" Type="http://schemas.openxmlformats.org/officeDocument/2006/relationships/image" Target="../media/image95.png"/><Relationship Id="rId11" Type="http://schemas.openxmlformats.org/officeDocument/2006/relationships/image" Target="../media/image100.svg"/><Relationship Id="rId24" Type="http://schemas.openxmlformats.org/officeDocument/2006/relationships/image" Target="../media/image109.png"/><Relationship Id="rId5" Type="http://schemas.openxmlformats.org/officeDocument/2006/relationships/image" Target="../media/image21.emf"/><Relationship Id="rId15" Type="http://schemas.openxmlformats.org/officeDocument/2006/relationships/image" Target="../media/image104.svg"/><Relationship Id="rId23" Type="http://schemas.openxmlformats.org/officeDocument/2006/relationships/image" Target="../media/image108.svg"/><Relationship Id="rId28" Type="http://schemas.openxmlformats.org/officeDocument/2006/relationships/image" Target="../media/image113.png"/><Relationship Id="rId10" Type="http://schemas.openxmlformats.org/officeDocument/2006/relationships/image" Target="../media/image99.png"/><Relationship Id="rId19" Type="http://schemas.openxmlformats.org/officeDocument/2006/relationships/image" Target="../media/image39.svg"/><Relationship Id="rId31" Type="http://schemas.openxmlformats.org/officeDocument/2006/relationships/image" Target="../media/image116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98.svg"/><Relationship Id="rId14" Type="http://schemas.openxmlformats.org/officeDocument/2006/relationships/image" Target="../media/image103.png"/><Relationship Id="rId22" Type="http://schemas.openxmlformats.org/officeDocument/2006/relationships/image" Target="../media/image107.png"/><Relationship Id="rId27" Type="http://schemas.openxmlformats.org/officeDocument/2006/relationships/image" Target="../media/image112.svg"/><Relationship Id="rId30" Type="http://schemas.openxmlformats.org/officeDocument/2006/relationships/image" Target="../media/image115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4.svg"/><Relationship Id="rId18" Type="http://schemas.openxmlformats.org/officeDocument/2006/relationships/image" Target="../media/image85.png"/><Relationship Id="rId26" Type="http://schemas.openxmlformats.org/officeDocument/2006/relationships/image" Target="../media/image136.pn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131.svg"/><Relationship Id="rId34" Type="http://schemas.openxmlformats.org/officeDocument/2006/relationships/image" Target="../media/image104.svg"/><Relationship Id="rId7" Type="http://schemas.openxmlformats.org/officeDocument/2006/relationships/image" Target="../media/image118.svg"/><Relationship Id="rId12" Type="http://schemas.openxmlformats.org/officeDocument/2006/relationships/image" Target="../media/image123.png"/><Relationship Id="rId17" Type="http://schemas.openxmlformats.org/officeDocument/2006/relationships/image" Target="../media/image128.svg"/><Relationship Id="rId25" Type="http://schemas.openxmlformats.org/officeDocument/2006/relationships/image" Target="../media/image135.svg"/><Relationship Id="rId33" Type="http://schemas.openxmlformats.org/officeDocument/2006/relationships/image" Target="../media/image103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7.png"/><Relationship Id="rId20" Type="http://schemas.openxmlformats.org/officeDocument/2006/relationships/image" Target="../media/image130.png"/><Relationship Id="rId29" Type="http://schemas.openxmlformats.org/officeDocument/2006/relationships/image" Target="../media/image139.svg"/><Relationship Id="rId1" Type="http://schemas.openxmlformats.org/officeDocument/2006/relationships/tags" Target="../tags/tag17.xml"/><Relationship Id="rId6" Type="http://schemas.openxmlformats.org/officeDocument/2006/relationships/image" Target="../media/image117.png"/><Relationship Id="rId11" Type="http://schemas.openxmlformats.org/officeDocument/2006/relationships/image" Target="../media/image122.svg"/><Relationship Id="rId24" Type="http://schemas.openxmlformats.org/officeDocument/2006/relationships/image" Target="../media/image134.png"/><Relationship Id="rId32" Type="http://schemas.openxmlformats.org/officeDocument/2006/relationships/image" Target="../media/image142.svg"/><Relationship Id="rId5" Type="http://schemas.openxmlformats.org/officeDocument/2006/relationships/image" Target="../media/image21.emf"/><Relationship Id="rId15" Type="http://schemas.openxmlformats.org/officeDocument/2006/relationships/image" Target="../media/image126.svg"/><Relationship Id="rId23" Type="http://schemas.openxmlformats.org/officeDocument/2006/relationships/image" Target="../media/image133.svg"/><Relationship Id="rId28" Type="http://schemas.openxmlformats.org/officeDocument/2006/relationships/image" Target="../media/image138.png"/><Relationship Id="rId10" Type="http://schemas.openxmlformats.org/officeDocument/2006/relationships/image" Target="../media/image121.png"/><Relationship Id="rId19" Type="http://schemas.openxmlformats.org/officeDocument/2006/relationships/image" Target="../media/image129.svg"/><Relationship Id="rId31" Type="http://schemas.openxmlformats.org/officeDocument/2006/relationships/image" Target="../media/image141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0.svg"/><Relationship Id="rId14" Type="http://schemas.openxmlformats.org/officeDocument/2006/relationships/image" Target="../media/image125.png"/><Relationship Id="rId22" Type="http://schemas.openxmlformats.org/officeDocument/2006/relationships/image" Target="../media/image132.png"/><Relationship Id="rId27" Type="http://schemas.openxmlformats.org/officeDocument/2006/relationships/image" Target="../media/image137.svg"/><Relationship Id="rId30" Type="http://schemas.openxmlformats.org/officeDocument/2006/relationships/image" Target="../media/image140.svg"/><Relationship Id="rId8" Type="http://schemas.openxmlformats.org/officeDocument/2006/relationships/image" Target="../media/image11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4.svg"/><Relationship Id="rId18" Type="http://schemas.openxmlformats.org/officeDocument/2006/relationships/image" Target="../media/image85.png"/><Relationship Id="rId26" Type="http://schemas.openxmlformats.org/officeDocument/2006/relationships/image" Target="../media/image138.png"/><Relationship Id="rId3" Type="http://schemas.openxmlformats.org/officeDocument/2006/relationships/notesSlide" Target="../notesSlides/notesSlide14.xml"/><Relationship Id="rId21" Type="http://schemas.openxmlformats.org/officeDocument/2006/relationships/image" Target="../media/image133.svg"/><Relationship Id="rId7" Type="http://schemas.openxmlformats.org/officeDocument/2006/relationships/image" Target="../media/image118.svg"/><Relationship Id="rId12" Type="http://schemas.openxmlformats.org/officeDocument/2006/relationships/image" Target="../media/image123.png"/><Relationship Id="rId17" Type="http://schemas.openxmlformats.org/officeDocument/2006/relationships/image" Target="../media/image128.svg"/><Relationship Id="rId25" Type="http://schemas.openxmlformats.org/officeDocument/2006/relationships/image" Target="../media/image137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7.png"/><Relationship Id="rId20" Type="http://schemas.openxmlformats.org/officeDocument/2006/relationships/image" Target="../media/image132.png"/><Relationship Id="rId29" Type="http://schemas.openxmlformats.org/officeDocument/2006/relationships/image" Target="../media/image141.svg"/><Relationship Id="rId1" Type="http://schemas.openxmlformats.org/officeDocument/2006/relationships/tags" Target="../tags/tag18.xml"/><Relationship Id="rId6" Type="http://schemas.openxmlformats.org/officeDocument/2006/relationships/image" Target="../media/image117.png"/><Relationship Id="rId11" Type="http://schemas.openxmlformats.org/officeDocument/2006/relationships/image" Target="../media/image122.svg"/><Relationship Id="rId24" Type="http://schemas.openxmlformats.org/officeDocument/2006/relationships/image" Target="../media/image136.png"/><Relationship Id="rId5" Type="http://schemas.openxmlformats.org/officeDocument/2006/relationships/image" Target="../media/image21.emf"/><Relationship Id="rId15" Type="http://schemas.openxmlformats.org/officeDocument/2006/relationships/image" Target="../media/image126.svg"/><Relationship Id="rId23" Type="http://schemas.openxmlformats.org/officeDocument/2006/relationships/image" Target="../media/image135.svg"/><Relationship Id="rId28" Type="http://schemas.openxmlformats.org/officeDocument/2006/relationships/image" Target="../media/image140.svg"/><Relationship Id="rId10" Type="http://schemas.openxmlformats.org/officeDocument/2006/relationships/image" Target="../media/image121.png"/><Relationship Id="rId19" Type="http://schemas.openxmlformats.org/officeDocument/2006/relationships/image" Target="../media/image129.svg"/><Relationship Id="rId31" Type="http://schemas.openxmlformats.org/officeDocument/2006/relationships/image" Target="../media/image104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0.svg"/><Relationship Id="rId14" Type="http://schemas.openxmlformats.org/officeDocument/2006/relationships/image" Target="../media/image125.png"/><Relationship Id="rId22" Type="http://schemas.openxmlformats.org/officeDocument/2006/relationships/image" Target="../media/image134.png"/><Relationship Id="rId27" Type="http://schemas.openxmlformats.org/officeDocument/2006/relationships/image" Target="../media/image139.svg"/><Relationship Id="rId30" Type="http://schemas.openxmlformats.org/officeDocument/2006/relationships/image" Target="../media/image103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19.pn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4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4.png"/><Relationship Id="rId29" Type="http://schemas.openxmlformats.org/officeDocument/2006/relationships/image" Target="../media/image137.svg"/><Relationship Id="rId1" Type="http://schemas.openxmlformats.org/officeDocument/2006/relationships/tags" Target="../tags/tag19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43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1.svg"/><Relationship Id="rId28" Type="http://schemas.openxmlformats.org/officeDocument/2006/relationships/image" Target="../media/image136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31" Type="http://schemas.openxmlformats.org/officeDocument/2006/relationships/image" Target="../media/image139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0.svg"/><Relationship Id="rId27" Type="http://schemas.openxmlformats.org/officeDocument/2006/relationships/image" Target="../media/image120.svg"/><Relationship Id="rId30" Type="http://schemas.openxmlformats.org/officeDocument/2006/relationships/image" Target="../media/image138.png"/><Relationship Id="rId8" Type="http://schemas.openxmlformats.org/officeDocument/2006/relationships/image" Target="../media/image121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19.png"/><Relationship Id="rId3" Type="http://schemas.openxmlformats.org/officeDocument/2006/relationships/notesSlide" Target="../notesSlides/notesSlide16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44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4.png"/><Relationship Id="rId29" Type="http://schemas.openxmlformats.org/officeDocument/2006/relationships/image" Target="../media/image137.svg"/><Relationship Id="rId1" Type="http://schemas.openxmlformats.org/officeDocument/2006/relationships/tags" Target="../tags/tag20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43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1.svg"/><Relationship Id="rId28" Type="http://schemas.openxmlformats.org/officeDocument/2006/relationships/image" Target="../media/image136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31" Type="http://schemas.openxmlformats.org/officeDocument/2006/relationships/image" Target="../media/image139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0.svg"/><Relationship Id="rId27" Type="http://schemas.openxmlformats.org/officeDocument/2006/relationships/image" Target="../media/image120.svg"/><Relationship Id="rId30" Type="http://schemas.openxmlformats.org/officeDocument/2006/relationships/image" Target="../media/image138.png"/><Relationship Id="rId8" Type="http://schemas.openxmlformats.org/officeDocument/2006/relationships/image" Target="../media/image12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40.svg"/><Relationship Id="rId18" Type="http://schemas.openxmlformats.org/officeDocument/2006/relationships/image" Target="../media/image132.png"/><Relationship Id="rId26" Type="http://schemas.openxmlformats.org/officeDocument/2006/relationships/image" Target="../media/image144.svg"/><Relationship Id="rId3" Type="http://schemas.openxmlformats.org/officeDocument/2006/relationships/notesSlide" Target="../notesSlides/notesSlide17.xml"/><Relationship Id="rId21" Type="http://schemas.openxmlformats.org/officeDocument/2006/relationships/image" Target="../media/image135.svg"/><Relationship Id="rId7" Type="http://schemas.openxmlformats.org/officeDocument/2006/relationships/image" Target="../media/image118.svg"/><Relationship Id="rId12" Type="http://schemas.openxmlformats.org/officeDocument/2006/relationships/image" Target="../media/image127.png"/><Relationship Id="rId17" Type="http://schemas.openxmlformats.org/officeDocument/2006/relationships/image" Target="../media/image126.svg"/><Relationship Id="rId25" Type="http://schemas.openxmlformats.org/officeDocument/2006/relationships/image" Target="../media/image143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5.png"/><Relationship Id="rId20" Type="http://schemas.openxmlformats.org/officeDocument/2006/relationships/image" Target="../media/image134.png"/><Relationship Id="rId1" Type="http://schemas.openxmlformats.org/officeDocument/2006/relationships/tags" Target="../tags/tag21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20.svg"/><Relationship Id="rId5" Type="http://schemas.openxmlformats.org/officeDocument/2006/relationships/image" Target="../media/image21.emf"/><Relationship Id="rId15" Type="http://schemas.openxmlformats.org/officeDocument/2006/relationships/image" Target="../media/image141.svg"/><Relationship Id="rId23" Type="http://schemas.openxmlformats.org/officeDocument/2006/relationships/image" Target="../media/image11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29.sv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6.svg"/><Relationship Id="rId18" Type="http://schemas.openxmlformats.org/officeDocument/2006/relationships/image" Target="../media/image130.png"/><Relationship Id="rId26" Type="http://schemas.openxmlformats.org/officeDocument/2006/relationships/image" Target="../media/image30.png"/><Relationship Id="rId3" Type="http://schemas.openxmlformats.org/officeDocument/2006/relationships/notesSlide" Target="../notesSlides/notesSlide18.xml"/><Relationship Id="rId21" Type="http://schemas.openxmlformats.org/officeDocument/2006/relationships/image" Target="../media/image133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29.svg"/><Relationship Id="rId25" Type="http://schemas.openxmlformats.org/officeDocument/2006/relationships/image" Target="../media/image104.svg"/><Relationship Id="rId33" Type="http://schemas.openxmlformats.org/officeDocument/2006/relationships/image" Target="../media/image152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85.png"/><Relationship Id="rId20" Type="http://schemas.openxmlformats.org/officeDocument/2006/relationships/image" Target="../media/image132.png"/><Relationship Id="rId29" Type="http://schemas.openxmlformats.org/officeDocument/2006/relationships/image" Target="../media/image148.svg"/><Relationship Id="rId1" Type="http://schemas.openxmlformats.org/officeDocument/2006/relationships/tags" Target="../tags/tag22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103.png"/><Relationship Id="rId32" Type="http://schemas.openxmlformats.org/officeDocument/2006/relationships/image" Target="../media/image151.png"/><Relationship Id="rId5" Type="http://schemas.openxmlformats.org/officeDocument/2006/relationships/image" Target="../media/image21.emf"/><Relationship Id="rId15" Type="http://schemas.openxmlformats.org/officeDocument/2006/relationships/image" Target="../media/image128.svg"/><Relationship Id="rId23" Type="http://schemas.openxmlformats.org/officeDocument/2006/relationships/image" Target="../media/image146.svg"/><Relationship Id="rId28" Type="http://schemas.openxmlformats.org/officeDocument/2006/relationships/image" Target="../media/image147.png"/><Relationship Id="rId10" Type="http://schemas.openxmlformats.org/officeDocument/2006/relationships/image" Target="../media/image123.png"/><Relationship Id="rId19" Type="http://schemas.openxmlformats.org/officeDocument/2006/relationships/image" Target="../media/image131.svg"/><Relationship Id="rId31" Type="http://schemas.openxmlformats.org/officeDocument/2006/relationships/image" Target="../media/image150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127.png"/><Relationship Id="rId22" Type="http://schemas.openxmlformats.org/officeDocument/2006/relationships/image" Target="../media/image145.png"/><Relationship Id="rId27" Type="http://schemas.openxmlformats.org/officeDocument/2006/relationships/image" Target="../media/image31.svg"/><Relationship Id="rId30" Type="http://schemas.openxmlformats.org/officeDocument/2006/relationships/image" Target="../media/image149.png"/><Relationship Id="rId8" Type="http://schemas.openxmlformats.org/officeDocument/2006/relationships/image" Target="../media/image12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47.png"/><Relationship Id="rId3" Type="http://schemas.openxmlformats.org/officeDocument/2006/relationships/notesSlide" Target="../notesSlides/notesSlide19.xml"/><Relationship Id="rId21" Type="http://schemas.openxmlformats.org/officeDocument/2006/relationships/image" Target="../media/image146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1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0.png"/><Relationship Id="rId20" Type="http://schemas.openxmlformats.org/officeDocument/2006/relationships/image" Target="../media/image145.png"/><Relationship Id="rId29" Type="http://schemas.openxmlformats.org/officeDocument/2006/relationships/image" Target="../media/image150.svg"/><Relationship Id="rId1" Type="http://schemas.openxmlformats.org/officeDocument/2006/relationships/tags" Target="../tags/tag23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29.svg"/><Relationship Id="rId23" Type="http://schemas.openxmlformats.org/officeDocument/2006/relationships/image" Target="../media/image104.svg"/><Relationship Id="rId28" Type="http://schemas.openxmlformats.org/officeDocument/2006/relationships/image" Target="../media/image14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03.png"/><Relationship Id="rId27" Type="http://schemas.openxmlformats.org/officeDocument/2006/relationships/image" Target="../media/image14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2.png"/><Relationship Id="rId26" Type="http://schemas.openxmlformats.org/officeDocument/2006/relationships/image" Target="../media/image147.png"/><Relationship Id="rId3" Type="http://schemas.openxmlformats.org/officeDocument/2006/relationships/notesSlide" Target="../notesSlides/notesSlide20.xml"/><Relationship Id="rId21" Type="http://schemas.openxmlformats.org/officeDocument/2006/relationships/image" Target="../media/image146.svg"/><Relationship Id="rId7" Type="http://schemas.openxmlformats.org/officeDocument/2006/relationships/image" Target="../media/image118.svg"/><Relationship Id="rId12" Type="http://schemas.openxmlformats.org/officeDocument/2006/relationships/image" Target="../media/image125.png"/><Relationship Id="rId17" Type="http://schemas.openxmlformats.org/officeDocument/2006/relationships/image" Target="../media/image131.svg"/><Relationship Id="rId25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30.png"/><Relationship Id="rId20" Type="http://schemas.openxmlformats.org/officeDocument/2006/relationships/image" Target="../media/image145.png"/><Relationship Id="rId29" Type="http://schemas.openxmlformats.org/officeDocument/2006/relationships/image" Target="../media/image150.svg"/><Relationship Id="rId1" Type="http://schemas.openxmlformats.org/officeDocument/2006/relationships/tags" Target="../tags/tag24.xml"/><Relationship Id="rId6" Type="http://schemas.openxmlformats.org/officeDocument/2006/relationships/image" Target="../media/image117.png"/><Relationship Id="rId11" Type="http://schemas.openxmlformats.org/officeDocument/2006/relationships/image" Target="../media/image124.svg"/><Relationship Id="rId24" Type="http://schemas.openxmlformats.org/officeDocument/2006/relationships/image" Target="../media/image30.png"/><Relationship Id="rId5" Type="http://schemas.openxmlformats.org/officeDocument/2006/relationships/image" Target="../media/image21.emf"/><Relationship Id="rId15" Type="http://schemas.openxmlformats.org/officeDocument/2006/relationships/image" Target="../media/image129.svg"/><Relationship Id="rId23" Type="http://schemas.openxmlformats.org/officeDocument/2006/relationships/image" Target="../media/image104.svg"/><Relationship Id="rId28" Type="http://schemas.openxmlformats.org/officeDocument/2006/relationships/image" Target="../media/image149.png"/><Relationship Id="rId10" Type="http://schemas.openxmlformats.org/officeDocument/2006/relationships/image" Target="../media/image123.png"/><Relationship Id="rId19" Type="http://schemas.openxmlformats.org/officeDocument/2006/relationships/image" Target="../media/image133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2.svg"/><Relationship Id="rId14" Type="http://schemas.openxmlformats.org/officeDocument/2006/relationships/image" Target="../media/image85.png"/><Relationship Id="rId22" Type="http://schemas.openxmlformats.org/officeDocument/2006/relationships/image" Target="../media/image103.png"/><Relationship Id="rId27" Type="http://schemas.openxmlformats.org/officeDocument/2006/relationships/image" Target="../media/image14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3.svg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40.png"/><Relationship Id="rId1" Type="http://schemas.openxmlformats.org/officeDocument/2006/relationships/tags" Target="../tags/tag8.xml"/><Relationship Id="rId6" Type="http://schemas.openxmlformats.org/officeDocument/2006/relationships/image" Target="../media/image32.png"/><Relationship Id="rId11" Type="http://schemas.openxmlformats.org/officeDocument/2006/relationships/image" Target="../media/image31.svg"/><Relationship Id="rId5" Type="http://schemas.openxmlformats.org/officeDocument/2006/relationships/image" Target="../media/image21.emf"/><Relationship Id="rId15" Type="http://schemas.openxmlformats.org/officeDocument/2006/relationships/image" Target="../media/image39.svg"/><Relationship Id="rId10" Type="http://schemas.openxmlformats.org/officeDocument/2006/relationships/image" Target="../media/image30.png"/><Relationship Id="rId19" Type="http://schemas.openxmlformats.org/officeDocument/2006/relationships/image" Target="../media/image43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5.svg"/><Relationship Id="rId1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1.sv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9.xml"/><Relationship Id="rId6" Type="http://schemas.openxmlformats.org/officeDocument/2006/relationships/image" Target="../media/image3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4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.xml"/><Relationship Id="rId6" Type="http://schemas.openxmlformats.org/officeDocument/2006/relationships/image" Target="../media/image46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1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2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3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13" Type="http://schemas.openxmlformats.org/officeDocument/2006/relationships/image" Target="../media/image57.png"/><Relationship Id="rId18" Type="http://schemas.openxmlformats.org/officeDocument/2006/relationships/image" Target="../media/image6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17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60.sv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0.sv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10" Type="http://schemas.openxmlformats.org/officeDocument/2006/relationships/image" Target="../media/image54.svg"/><Relationship Id="rId4" Type="http://schemas.openxmlformats.org/officeDocument/2006/relationships/image" Target="../media/image48.svg"/><Relationship Id="rId9" Type="http://schemas.openxmlformats.org/officeDocument/2006/relationships/image" Target="../media/image53.png"/><Relationship Id="rId14" Type="http://schemas.openxmlformats.org/officeDocument/2006/relationships/image" Target="../media/image5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0823AA-D75A-9D31-055A-12D93D8D1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98F2BEC-6F06-C344-1B85-A88E4762B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F2BEC-6F06-C344-1B85-A88E4762B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C8064F9-8B42-DB3C-836D-DBD998CFF6A5}"/>
              </a:ext>
            </a:extLst>
          </p:cNvPr>
          <p:cNvSpPr>
            <a:spLocks/>
          </p:cNvSpPr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FF4CDC12-72B8-81B9-16B9-901B0C4A341A}"/>
              </a:ext>
            </a:extLst>
          </p:cNvPr>
          <p:cNvSpPr/>
          <p:nvPr/>
        </p:nvSpPr>
        <p:spPr>
          <a:xfrm>
            <a:off x="5219701" y="5366829"/>
            <a:ext cx="1985011" cy="43053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Internal Efforts</a:t>
            </a:r>
            <a:endParaRPr lang="de-DE" sz="1400" dirty="0"/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7D575EDF-F1FD-8E5A-E80C-4FF071B68F70}"/>
              </a:ext>
            </a:extLst>
          </p:cNvPr>
          <p:cNvSpPr/>
          <p:nvPr/>
        </p:nvSpPr>
        <p:spPr>
          <a:xfrm>
            <a:off x="4687500" y="4354089"/>
            <a:ext cx="2943997" cy="430530"/>
          </a:xfrm>
          <a:prstGeom prst="round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txBody>
          <a:bodyPr vert="horz" lIns="72000" tIns="0" rIns="0" bIns="0" rtlCol="0" anchor="ctr" anchorCtr="0">
            <a:noAutofit/>
          </a:bodyPr>
          <a:lstStyle/>
          <a:p>
            <a:pPr lvl="0" algn="ctr"/>
            <a:r>
              <a:rPr lang="de-DE" b="1" dirty="0"/>
              <a:t>Business Value</a:t>
            </a:r>
            <a:endParaRPr lang="de-DE" sz="1400" dirty="0"/>
          </a:p>
        </p:txBody>
      </p:sp>
      <p:sp>
        <p:nvSpPr>
          <p:cNvPr id="36" name="Pfeil: nach oben 35">
            <a:extLst>
              <a:ext uri="{FF2B5EF4-FFF2-40B4-BE49-F238E27FC236}">
                <a16:creationId xmlns:a16="http://schemas.microsoft.com/office/drawing/2014/main" id="{7D07B79D-DE81-ED05-C8DE-DE5A03882809}"/>
              </a:ext>
            </a:extLst>
          </p:cNvPr>
          <p:cNvSpPr/>
          <p:nvPr/>
        </p:nvSpPr>
        <p:spPr>
          <a:xfrm>
            <a:off x="6020117" y="4912391"/>
            <a:ext cx="384175" cy="376196"/>
          </a:xfrm>
          <a:prstGeom prst="upArrow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39" name="Grafik 38" descr="Münzen Silhouette">
            <a:extLst>
              <a:ext uri="{FF2B5EF4-FFF2-40B4-BE49-F238E27FC236}">
                <a16:creationId xmlns:a16="http://schemas.microsoft.com/office/drawing/2014/main" id="{86DBB785-6BD0-051A-6672-2F70088EB1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7500" y="4302775"/>
            <a:ext cx="533158" cy="533158"/>
          </a:xfrm>
          <a:prstGeom prst="rect">
            <a:avLst/>
          </a:prstGeom>
        </p:spPr>
      </p:pic>
      <p:pic>
        <p:nvPicPr>
          <p:cNvPr id="41" name="Grafik 40" descr="Lupe Silhouette">
            <a:extLst>
              <a:ext uri="{FF2B5EF4-FFF2-40B4-BE49-F238E27FC236}">
                <a16:creationId xmlns:a16="http://schemas.microsoft.com/office/drawing/2014/main" id="{F84EFDB1-A0A3-5E27-4496-AE3B4AD524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7152005" y="4331579"/>
            <a:ext cx="453040" cy="453040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C577103-C8FA-0671-278D-4BA665858BCB}"/>
              </a:ext>
            </a:extLst>
          </p:cNvPr>
          <p:cNvGrpSpPr/>
          <p:nvPr/>
        </p:nvGrpSpPr>
        <p:grpSpPr>
          <a:xfrm>
            <a:off x="2127114" y="453957"/>
            <a:ext cx="7905345" cy="3772360"/>
            <a:chOff x="2127114" y="453957"/>
            <a:chExt cx="7905345" cy="3772360"/>
          </a:xfrm>
        </p:grpSpPr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F01B00DA-18E6-BD2A-02FD-7D8D3F865DDD}"/>
                </a:ext>
              </a:extLst>
            </p:cNvPr>
            <p:cNvSpPr/>
            <p:nvPr/>
          </p:nvSpPr>
          <p:spPr>
            <a:xfrm>
              <a:off x="4667899" y="796290"/>
              <a:ext cx="284400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Supply Chain </a:t>
              </a:r>
              <a:r>
                <a:rPr lang="de-DE" b="1" dirty="0" err="1">
                  <a:solidFill>
                    <a:schemeClr val="accent1"/>
                  </a:solidFill>
                </a:rPr>
                <a:t>Condition</a:t>
              </a:r>
              <a:endParaRPr lang="de-DE" b="1" dirty="0">
                <a:solidFill>
                  <a:schemeClr val="accent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Normal Oper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Isolate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Widespread</a:t>
              </a:r>
              <a:r>
                <a:rPr lang="de-DE" sz="1400" dirty="0">
                  <a:solidFill>
                    <a:schemeClr val="bg1"/>
                  </a:solidFill>
                </a:rPr>
                <a:t> Bottleneck</a:t>
              </a:r>
            </a:p>
          </p:txBody>
        </p:sp>
        <p:sp>
          <p:nvSpPr>
            <p:cNvPr id="6" name="Rechteck: abgerundete Ecken 5">
              <a:extLst>
                <a:ext uri="{FF2B5EF4-FFF2-40B4-BE49-F238E27FC236}">
                  <a16:creationId xmlns:a16="http://schemas.microsoft.com/office/drawing/2014/main" id="{A9A6B60C-7CA9-4DA3-9235-E0416344E598}"/>
                </a:ext>
              </a:extLst>
            </p:cNvPr>
            <p:cNvSpPr/>
            <p:nvPr/>
          </p:nvSpPr>
          <p:spPr>
            <a:xfrm>
              <a:off x="7158355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URIS </a:t>
              </a:r>
              <a:r>
                <a:rPr lang="de-DE" b="1" dirty="0" err="1">
                  <a:solidFill>
                    <a:schemeClr val="accent1"/>
                  </a:solidFill>
                </a:rPr>
                <a:t>Usage</a:t>
              </a:r>
              <a:r>
                <a:rPr lang="de-DE" b="1" dirty="0">
                  <a:solidFill>
                    <a:schemeClr val="accent1"/>
                  </a:solidFill>
                </a:rPr>
                <a:t> Scenario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Bottleneck Managemen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Monitoring</a:t>
              </a:r>
            </a:p>
          </p:txBody>
        </p:sp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6B94ABEE-B3A8-AE14-BD6F-9F7B2D09002F}"/>
                </a:ext>
              </a:extLst>
            </p:cNvPr>
            <p:cNvSpPr/>
            <p:nvPr/>
          </p:nvSpPr>
          <p:spPr>
            <a:xfrm>
              <a:off x="2359026" y="2192020"/>
              <a:ext cx="2674620" cy="1097280"/>
            </a:xfrm>
            <a:prstGeom prst="roundRect">
              <a:avLst/>
            </a:prstGeom>
            <a:ln w="19050">
              <a:solidFill>
                <a:schemeClr val="accent1"/>
              </a:solidFill>
            </a:ln>
          </p:spPr>
          <p:txBody>
            <a:bodyPr vert="horz" lIns="180000" tIns="0" rIns="0" bIns="0" rtlCol="0" anchor="t" anchorCtr="0">
              <a:noAutofit/>
            </a:bodyPr>
            <a:lstStyle/>
            <a:p>
              <a:pPr lvl="0"/>
              <a:r>
                <a:rPr lang="de-DE" b="1" dirty="0">
                  <a:solidFill>
                    <a:schemeClr val="accent1"/>
                  </a:solidFill>
                </a:rPr>
                <a:t>Potentia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schemeClr val="bg1"/>
                  </a:solidFill>
                </a:rPr>
                <a:t>Cos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1400" dirty="0" err="1">
                  <a:solidFill>
                    <a:schemeClr val="bg1"/>
                  </a:solidFill>
                </a:rPr>
                <a:t>Optimizations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84C1A7A7-48F1-F6EF-B238-0E404A7911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96336" y="1344930"/>
              <a:ext cx="932814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F990437C-78FB-7CFC-1694-E98E2B3E266D}"/>
                </a:ext>
              </a:extLst>
            </p:cNvPr>
            <p:cNvCxnSpPr>
              <a:cxnSpLocks/>
            </p:cNvCxnSpPr>
            <p:nvPr/>
          </p:nvCxnSpPr>
          <p:spPr>
            <a:xfrm>
              <a:off x="7562850" y="1344930"/>
              <a:ext cx="932815" cy="654025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6B5127D4-A358-B7BF-2253-E47FABE16127}"/>
                </a:ext>
              </a:extLst>
            </p:cNvPr>
            <p:cNvCxnSpPr>
              <a:cxnSpLocks/>
            </p:cNvCxnSpPr>
            <p:nvPr/>
          </p:nvCxnSpPr>
          <p:spPr>
            <a:xfrm>
              <a:off x="5219701" y="2740660"/>
              <a:ext cx="1727199" cy="0"/>
            </a:xfrm>
            <a:prstGeom prst="straightConnector1">
              <a:avLst/>
            </a:prstGeom>
            <a:ln w="1905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2E84C4E1-37D6-154A-628D-BCA30B1FAF75}"/>
                </a:ext>
              </a:extLst>
            </p:cNvPr>
            <p:cNvSpPr/>
            <p:nvPr/>
          </p:nvSpPr>
          <p:spPr>
            <a:xfrm>
              <a:off x="2127114" y="453957"/>
              <a:ext cx="7905345" cy="3089343"/>
            </a:xfrm>
            <a:prstGeom prst="roundRect">
              <a:avLst/>
            </a:prstGeom>
            <a:ln w="19050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3D295406-C459-817E-2402-76364F3287CA}"/>
                </a:ext>
              </a:extLst>
            </p:cNvPr>
            <p:cNvSpPr/>
            <p:nvPr/>
          </p:nvSpPr>
          <p:spPr>
            <a:xfrm>
              <a:off x="5166994" y="3341349"/>
              <a:ext cx="1985011" cy="430530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txBody>
            <a:bodyPr vert="horz" lIns="72000" tIns="0" rIns="0" bIns="0" rtlCol="0" anchor="ctr" anchorCtr="0">
              <a:noAutofit/>
            </a:bodyPr>
            <a:lstStyle/>
            <a:p>
              <a:pPr lvl="0" algn="ctr"/>
              <a:r>
                <a:rPr lang="de-DE" b="1" dirty="0"/>
                <a:t>Benefits</a:t>
              </a:r>
              <a:endParaRPr lang="de-DE" sz="1400" dirty="0"/>
            </a:p>
          </p:txBody>
        </p:sp>
        <p:pic>
          <p:nvPicPr>
            <p:cNvPr id="27" name="Grafik 26" descr="Schraubenschlüssel Silhouette">
              <a:extLst>
                <a:ext uri="{FF2B5EF4-FFF2-40B4-BE49-F238E27FC236}">
                  <a16:creationId xmlns:a16="http://schemas.microsoft.com/office/drawing/2014/main" id="{A9658BD9-AC7D-43C5-8A90-79E8D70C8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436896" y="2837659"/>
              <a:ext cx="385761" cy="385761"/>
            </a:xfrm>
            <a:prstGeom prst="rect">
              <a:avLst/>
            </a:prstGeom>
          </p:spPr>
        </p:pic>
        <p:pic>
          <p:nvPicPr>
            <p:cNvPr id="29" name="Grafik 28" descr="Hürde Silhouette">
              <a:extLst>
                <a:ext uri="{FF2B5EF4-FFF2-40B4-BE49-F238E27FC236}">
                  <a16:creationId xmlns:a16="http://schemas.microsoft.com/office/drawing/2014/main" id="{F2376D78-5CF9-9053-4206-CB2F100DA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546600" y="2768590"/>
              <a:ext cx="450850" cy="450850"/>
            </a:xfrm>
            <a:prstGeom prst="rect">
              <a:avLst/>
            </a:prstGeom>
          </p:spPr>
        </p:pic>
        <p:pic>
          <p:nvPicPr>
            <p:cNvPr id="31" name="Grafik 30" descr="LKW Silhouette">
              <a:extLst>
                <a:ext uri="{FF2B5EF4-FFF2-40B4-BE49-F238E27FC236}">
                  <a16:creationId xmlns:a16="http://schemas.microsoft.com/office/drawing/2014/main" id="{3BE6D7F8-6B40-0598-D6DE-0854A2DD0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917642" y="1427455"/>
              <a:ext cx="495347" cy="495347"/>
            </a:xfrm>
            <a:prstGeom prst="rect">
              <a:avLst/>
            </a:prstGeom>
          </p:spPr>
        </p:pic>
        <p:sp>
          <p:nvSpPr>
            <p:cNvPr id="37" name="Pfeil: nach oben 36">
              <a:extLst>
                <a:ext uri="{FF2B5EF4-FFF2-40B4-BE49-F238E27FC236}">
                  <a16:creationId xmlns:a16="http://schemas.microsoft.com/office/drawing/2014/main" id="{C6E8331A-9484-D65D-1408-CE929870ACAF}"/>
                </a:ext>
              </a:extLst>
            </p:cNvPr>
            <p:cNvSpPr/>
            <p:nvPr/>
          </p:nvSpPr>
          <p:spPr>
            <a:xfrm flipV="1">
              <a:off x="6020117" y="3850121"/>
              <a:ext cx="384175" cy="376196"/>
            </a:xfrm>
            <a:prstGeom prst="upArrow">
              <a:avLst/>
            </a:prstGeom>
            <a:solidFill>
              <a:schemeClr val="bg1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0108ED10-FA4F-8DC1-2411-784085F09A84}"/>
                </a:ext>
              </a:extLst>
            </p:cNvPr>
            <p:cNvSpPr/>
            <p:nvPr/>
          </p:nvSpPr>
          <p:spPr>
            <a:xfrm>
              <a:off x="4477090" y="62194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2E0AEB2-771C-2E3D-08E2-A05245E89B07}"/>
                </a:ext>
              </a:extLst>
            </p:cNvPr>
            <p:cNvSpPr/>
            <p:nvPr/>
          </p:nvSpPr>
          <p:spPr>
            <a:xfrm>
              <a:off x="7012624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11492D2B-9A06-9C76-FB8C-16C7635C52F9}"/>
                </a:ext>
              </a:extLst>
            </p:cNvPr>
            <p:cNvSpPr/>
            <p:nvPr/>
          </p:nvSpPr>
          <p:spPr>
            <a:xfrm>
              <a:off x="2172971" y="2020975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329AF0E-7EBE-B652-5922-C89B5F8D241B}"/>
                </a:ext>
              </a:extLst>
            </p:cNvPr>
            <p:cNvSpPr/>
            <p:nvPr/>
          </p:nvSpPr>
          <p:spPr>
            <a:xfrm>
              <a:off x="5053013" y="3196726"/>
              <a:ext cx="384175" cy="384175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dirty="0">
                  <a:latin typeface="Manrope Light" pitchFamily="2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15" name="Ellipse 14">
            <a:extLst>
              <a:ext uri="{FF2B5EF4-FFF2-40B4-BE49-F238E27FC236}">
                <a16:creationId xmlns:a16="http://schemas.microsoft.com/office/drawing/2014/main" id="{465EC3E6-596D-1970-F099-C45B0CFBA3DF}"/>
              </a:ext>
            </a:extLst>
          </p:cNvPr>
          <p:cNvSpPr/>
          <p:nvPr/>
        </p:nvSpPr>
        <p:spPr>
          <a:xfrm>
            <a:off x="5053013" y="5197919"/>
            <a:ext cx="384175" cy="384175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latin typeface="Manrope Light" pitchFamily="2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1697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7DFADBF-6871-35C8-218B-56C1688C82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842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DFADBF-6871-35C8-218B-56C1688C8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1EC3B060-98F1-A1F0-CCBC-A0A186072207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2DC0068F-B828-89B2-511B-0BDA07558B24}"/>
              </a:ext>
            </a:extLst>
          </p:cNvPr>
          <p:cNvSpPr/>
          <p:nvPr/>
        </p:nvSpPr>
        <p:spPr>
          <a:xfrm rot="16200000">
            <a:off x="4136522" y="3076187"/>
            <a:ext cx="3914190" cy="64246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B3DEF8DC-10E7-8882-0385-6C569B19F614}"/>
              </a:ext>
            </a:extLst>
          </p:cNvPr>
          <p:cNvCxnSpPr>
            <a:stCxn id="11" idx="2"/>
            <a:endCxn id="10" idx="5"/>
          </p:cNvCxnSpPr>
          <p:nvPr/>
        </p:nvCxnSpPr>
        <p:spPr>
          <a:xfrm flipV="1">
            <a:off x="5372101" y="2004417"/>
            <a:ext cx="1447798" cy="1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379DEBC-F687-4671-28E0-3962F6D1CF99}"/>
              </a:ext>
            </a:extLst>
          </p:cNvPr>
          <p:cNvCxnSpPr>
            <a:stCxn id="12" idx="2"/>
            <a:endCxn id="13" idx="7"/>
          </p:cNvCxnSpPr>
          <p:nvPr/>
        </p:nvCxnSpPr>
        <p:spPr>
          <a:xfrm>
            <a:off x="4660901" y="3428999"/>
            <a:ext cx="28701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9524C7-46C0-7BB0-E4A0-DD4C5D9CBBB0}"/>
              </a:ext>
            </a:extLst>
          </p:cNvPr>
          <p:cNvCxnSpPr>
            <a:cxnSpLocks/>
            <a:stCxn id="14" idx="2"/>
            <a:endCxn id="15" idx="6"/>
          </p:cNvCxnSpPr>
          <p:nvPr/>
        </p:nvCxnSpPr>
        <p:spPr>
          <a:xfrm>
            <a:off x="5372101" y="4876800"/>
            <a:ext cx="1447798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miter lim="800000"/>
          </a:ln>
          <a:effectLst/>
        </p:spPr>
      </p:cxn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F5053AA5-5091-E468-4A35-EEC60D38BFC9}"/>
              </a:ext>
            </a:extLst>
          </p:cNvPr>
          <p:cNvSpPr/>
          <p:nvPr/>
        </p:nvSpPr>
        <p:spPr>
          <a:xfrm>
            <a:off x="6819899" y="1720256"/>
            <a:ext cx="861502" cy="585786"/>
          </a:xfrm>
          <a:custGeom>
            <a:avLst/>
            <a:gdLst>
              <a:gd name="connsiteX0" fmla="*/ 204317 w 861502"/>
              <a:gd name="connsiteY0" fmla="*/ 0 h 585786"/>
              <a:gd name="connsiteX1" fmla="*/ 363172 w 861502"/>
              <a:gd name="connsiteY1" fmla="*/ 96507 h 585786"/>
              <a:gd name="connsiteX2" fmla="*/ 776410 w 861502"/>
              <a:gd name="connsiteY2" fmla="*/ 471994 h 585786"/>
              <a:gd name="connsiteX3" fmla="*/ 861502 w 861502"/>
              <a:gd name="connsiteY3" fmla="*/ 585786 h 585786"/>
              <a:gd name="connsiteX4" fmla="*/ 301625 w 861502"/>
              <a:gd name="connsiteY4" fmla="*/ 585786 h 585786"/>
              <a:gd name="connsiteX5" fmla="*/ 0 w 861502"/>
              <a:gd name="connsiteY5" fmla="*/ 284161 h 585786"/>
              <a:gd name="connsiteX6" fmla="*/ 184219 w 861502"/>
              <a:gd name="connsiteY6" fmla="*/ 6239 h 585786"/>
              <a:gd name="connsiteX7" fmla="*/ 204317 w 861502"/>
              <a:gd name="connsiteY7" fmla="*/ 0 h 585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2" h="585786">
                <a:moveTo>
                  <a:pt x="204317" y="0"/>
                </a:moveTo>
                <a:lnTo>
                  <a:pt x="363172" y="96507"/>
                </a:lnTo>
                <a:cubicBezTo>
                  <a:pt x="518328" y="201328"/>
                  <a:pt x="657540" y="327957"/>
                  <a:pt x="776410" y="471994"/>
                </a:cubicBezTo>
                <a:lnTo>
                  <a:pt x="861502" y="585786"/>
                </a:lnTo>
                <a:lnTo>
                  <a:pt x="301625" y="585786"/>
                </a:lnTo>
                <a:cubicBezTo>
                  <a:pt x="135042" y="585786"/>
                  <a:pt x="0" y="450744"/>
                  <a:pt x="0" y="284161"/>
                </a:cubicBezTo>
                <a:cubicBezTo>
                  <a:pt x="0" y="159224"/>
                  <a:pt x="75961" y="52028"/>
                  <a:pt x="184219" y="6239"/>
                </a:cubicBezTo>
                <a:lnTo>
                  <a:pt x="204317" y="0"/>
                </a:ln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39DC513-D61A-7B88-4CF1-A117EA86DFAD}"/>
              </a:ext>
            </a:extLst>
          </p:cNvPr>
          <p:cNvSpPr/>
          <p:nvPr/>
        </p:nvSpPr>
        <p:spPr>
          <a:xfrm>
            <a:off x="4510600" y="1720258"/>
            <a:ext cx="861501" cy="585785"/>
          </a:xfrm>
          <a:custGeom>
            <a:avLst/>
            <a:gdLst>
              <a:gd name="connsiteX0" fmla="*/ 657184 w 861501"/>
              <a:gd name="connsiteY0" fmla="*/ 0 h 585785"/>
              <a:gd name="connsiteX1" fmla="*/ 677282 w 861501"/>
              <a:gd name="connsiteY1" fmla="*/ 6238 h 585785"/>
              <a:gd name="connsiteX2" fmla="*/ 861501 w 861501"/>
              <a:gd name="connsiteY2" fmla="*/ 284160 h 585785"/>
              <a:gd name="connsiteX3" fmla="*/ 559876 w 861501"/>
              <a:gd name="connsiteY3" fmla="*/ 585785 h 585785"/>
              <a:gd name="connsiteX4" fmla="*/ 0 w 861501"/>
              <a:gd name="connsiteY4" fmla="*/ 585785 h 585785"/>
              <a:gd name="connsiteX5" fmla="*/ 85092 w 861501"/>
              <a:gd name="connsiteY5" fmla="*/ 471993 h 585785"/>
              <a:gd name="connsiteX6" fmla="*/ 498330 w 861501"/>
              <a:gd name="connsiteY6" fmla="*/ 96506 h 585785"/>
              <a:gd name="connsiteX7" fmla="*/ 657184 w 861501"/>
              <a:gd name="connsiteY7" fmla="*/ 0 h 585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501" h="585785">
                <a:moveTo>
                  <a:pt x="657184" y="0"/>
                </a:moveTo>
                <a:lnTo>
                  <a:pt x="677282" y="6238"/>
                </a:lnTo>
                <a:cubicBezTo>
                  <a:pt x="785540" y="52027"/>
                  <a:pt x="861501" y="159223"/>
                  <a:pt x="861501" y="284160"/>
                </a:cubicBezTo>
                <a:cubicBezTo>
                  <a:pt x="861501" y="450743"/>
                  <a:pt x="726459" y="585785"/>
                  <a:pt x="559876" y="585785"/>
                </a:cubicBezTo>
                <a:lnTo>
                  <a:pt x="0" y="585785"/>
                </a:lnTo>
                <a:lnTo>
                  <a:pt x="85092" y="471993"/>
                </a:lnTo>
                <a:cubicBezTo>
                  <a:pt x="203962" y="327956"/>
                  <a:pt x="343174" y="201327"/>
                  <a:pt x="498330" y="96506"/>
                </a:cubicBezTo>
                <a:lnTo>
                  <a:pt x="657184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810A11CE-8FEA-0D17-56B7-DAD4C04F5B90}"/>
              </a:ext>
            </a:extLst>
          </p:cNvPr>
          <p:cNvSpPr/>
          <p:nvPr/>
        </p:nvSpPr>
        <p:spPr>
          <a:xfrm>
            <a:off x="4151710" y="3127374"/>
            <a:ext cx="509191" cy="603250"/>
          </a:xfrm>
          <a:custGeom>
            <a:avLst/>
            <a:gdLst>
              <a:gd name="connsiteX0" fmla="*/ 25732 w 509191"/>
              <a:gd name="connsiteY0" fmla="*/ 0 h 603250"/>
              <a:gd name="connsiteX1" fmla="*/ 207566 w 509191"/>
              <a:gd name="connsiteY1" fmla="*/ 0 h 603250"/>
              <a:gd name="connsiteX2" fmla="*/ 509191 w 509191"/>
              <a:gd name="connsiteY2" fmla="*/ 301625 h 603250"/>
              <a:gd name="connsiteX3" fmla="*/ 207566 w 509191"/>
              <a:gd name="connsiteY3" fmla="*/ 603250 h 603250"/>
              <a:gd name="connsiteX4" fmla="*/ 25732 w 509191"/>
              <a:gd name="connsiteY4" fmla="*/ 603250 h 603250"/>
              <a:gd name="connsiteX5" fmla="*/ 10038 w 509191"/>
              <a:gd name="connsiteY5" fmla="*/ 500418 h 603250"/>
              <a:gd name="connsiteX6" fmla="*/ 0 w 509191"/>
              <a:gd name="connsiteY6" fmla="*/ 301626 h 603250"/>
              <a:gd name="connsiteX7" fmla="*/ 10038 w 509191"/>
              <a:gd name="connsiteY7" fmla="*/ 102834 h 603250"/>
              <a:gd name="connsiteX8" fmla="*/ 25732 w 5091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1" h="603250">
                <a:moveTo>
                  <a:pt x="25732" y="0"/>
                </a:moveTo>
                <a:lnTo>
                  <a:pt x="207566" y="0"/>
                </a:lnTo>
                <a:cubicBezTo>
                  <a:pt x="374149" y="0"/>
                  <a:pt x="509191" y="135042"/>
                  <a:pt x="509191" y="301625"/>
                </a:cubicBezTo>
                <a:cubicBezTo>
                  <a:pt x="509191" y="468208"/>
                  <a:pt x="374149" y="603250"/>
                  <a:pt x="207566" y="603250"/>
                </a:cubicBezTo>
                <a:lnTo>
                  <a:pt x="25732" y="603250"/>
                </a:lnTo>
                <a:lnTo>
                  <a:pt x="10038" y="500418"/>
                </a:lnTo>
                <a:cubicBezTo>
                  <a:pt x="3400" y="435057"/>
                  <a:pt x="0" y="368739"/>
                  <a:pt x="0" y="301626"/>
                </a:cubicBezTo>
                <a:cubicBezTo>
                  <a:pt x="0" y="234514"/>
                  <a:pt x="3400" y="168195"/>
                  <a:pt x="10038" y="102834"/>
                </a:cubicBezTo>
                <a:lnTo>
                  <a:pt x="25732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4EAAFFC8-32D1-429D-62A8-087CD66B973E}"/>
              </a:ext>
            </a:extLst>
          </p:cNvPr>
          <p:cNvSpPr/>
          <p:nvPr/>
        </p:nvSpPr>
        <p:spPr>
          <a:xfrm>
            <a:off x="7531099" y="3127374"/>
            <a:ext cx="509192" cy="603250"/>
          </a:xfrm>
          <a:custGeom>
            <a:avLst/>
            <a:gdLst>
              <a:gd name="connsiteX0" fmla="*/ 301625 w 509192"/>
              <a:gd name="connsiteY0" fmla="*/ 0 h 603250"/>
              <a:gd name="connsiteX1" fmla="*/ 483460 w 509192"/>
              <a:gd name="connsiteY1" fmla="*/ 0 h 603250"/>
              <a:gd name="connsiteX2" fmla="*/ 499154 w 509192"/>
              <a:gd name="connsiteY2" fmla="*/ 102834 h 603250"/>
              <a:gd name="connsiteX3" fmla="*/ 509192 w 509192"/>
              <a:gd name="connsiteY3" fmla="*/ 301626 h 603250"/>
              <a:gd name="connsiteX4" fmla="*/ 499154 w 509192"/>
              <a:gd name="connsiteY4" fmla="*/ 500418 h 603250"/>
              <a:gd name="connsiteX5" fmla="*/ 483460 w 509192"/>
              <a:gd name="connsiteY5" fmla="*/ 603250 h 603250"/>
              <a:gd name="connsiteX6" fmla="*/ 301625 w 509192"/>
              <a:gd name="connsiteY6" fmla="*/ 603250 h 603250"/>
              <a:gd name="connsiteX7" fmla="*/ 0 w 509192"/>
              <a:gd name="connsiteY7" fmla="*/ 301625 h 603250"/>
              <a:gd name="connsiteX8" fmla="*/ 301625 w 509192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9192" h="603250">
                <a:moveTo>
                  <a:pt x="301625" y="0"/>
                </a:moveTo>
                <a:lnTo>
                  <a:pt x="483460" y="0"/>
                </a:lnTo>
                <a:lnTo>
                  <a:pt x="499154" y="102834"/>
                </a:lnTo>
                <a:cubicBezTo>
                  <a:pt x="505792" y="168195"/>
                  <a:pt x="509192" y="234514"/>
                  <a:pt x="509192" y="301626"/>
                </a:cubicBezTo>
                <a:cubicBezTo>
                  <a:pt x="509192" y="368739"/>
                  <a:pt x="505792" y="435057"/>
                  <a:pt x="499154" y="500418"/>
                </a:cubicBezTo>
                <a:lnTo>
                  <a:pt x="483460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B50D8531-5269-FE15-D992-738EA6290EDC}"/>
              </a:ext>
            </a:extLst>
          </p:cNvPr>
          <p:cNvSpPr/>
          <p:nvPr/>
        </p:nvSpPr>
        <p:spPr>
          <a:xfrm>
            <a:off x="4527960" y="4575175"/>
            <a:ext cx="844141" cy="575779"/>
          </a:xfrm>
          <a:custGeom>
            <a:avLst/>
            <a:gdLst>
              <a:gd name="connsiteX0" fmla="*/ 0 w 844141"/>
              <a:gd name="connsiteY0" fmla="*/ 0 h 575779"/>
              <a:gd name="connsiteX1" fmla="*/ 542516 w 844141"/>
              <a:gd name="connsiteY1" fmla="*/ 0 h 575779"/>
              <a:gd name="connsiteX2" fmla="*/ 844141 w 844141"/>
              <a:gd name="connsiteY2" fmla="*/ 301625 h 575779"/>
              <a:gd name="connsiteX3" fmla="*/ 711157 w 844141"/>
              <a:gd name="connsiteY3" fmla="*/ 551737 h 575779"/>
              <a:gd name="connsiteX4" fmla="*/ 666865 w 844141"/>
              <a:gd name="connsiteY4" fmla="*/ 575779 h 575779"/>
              <a:gd name="connsiteX5" fmla="*/ 641277 w 844141"/>
              <a:gd name="connsiteY5" fmla="*/ 563452 h 575779"/>
              <a:gd name="connsiteX6" fmla="*/ 67732 w 844141"/>
              <a:gd name="connsiteY6" fmla="*/ 90576 h 575779"/>
              <a:gd name="connsiteX7" fmla="*/ 0 w 844141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1" h="575779">
                <a:moveTo>
                  <a:pt x="0" y="0"/>
                </a:moveTo>
                <a:lnTo>
                  <a:pt x="542516" y="0"/>
                </a:lnTo>
                <a:cubicBezTo>
                  <a:pt x="709099" y="0"/>
                  <a:pt x="844141" y="135042"/>
                  <a:pt x="844141" y="301625"/>
                </a:cubicBezTo>
                <a:cubicBezTo>
                  <a:pt x="844141" y="405740"/>
                  <a:pt x="791390" y="497533"/>
                  <a:pt x="711157" y="551737"/>
                </a:cubicBezTo>
                <a:lnTo>
                  <a:pt x="666865" y="575779"/>
                </a:lnTo>
                <a:lnTo>
                  <a:pt x="641277" y="563452"/>
                </a:lnTo>
                <a:cubicBezTo>
                  <a:pt x="420882" y="443726"/>
                  <a:pt x="226225" y="282626"/>
                  <a:pt x="67732" y="9057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5B45B485-7BA8-839F-6AC6-54CF9A3AA509}"/>
              </a:ext>
            </a:extLst>
          </p:cNvPr>
          <p:cNvSpPr/>
          <p:nvPr/>
        </p:nvSpPr>
        <p:spPr>
          <a:xfrm>
            <a:off x="6819899" y="4575175"/>
            <a:ext cx="844142" cy="575779"/>
          </a:xfrm>
          <a:custGeom>
            <a:avLst/>
            <a:gdLst>
              <a:gd name="connsiteX0" fmla="*/ 301625 w 844142"/>
              <a:gd name="connsiteY0" fmla="*/ 0 h 575779"/>
              <a:gd name="connsiteX1" fmla="*/ 844142 w 844142"/>
              <a:gd name="connsiteY1" fmla="*/ 0 h 575779"/>
              <a:gd name="connsiteX2" fmla="*/ 776410 w 844142"/>
              <a:gd name="connsiteY2" fmla="*/ 90576 h 575779"/>
              <a:gd name="connsiteX3" fmla="*/ 202865 w 844142"/>
              <a:gd name="connsiteY3" fmla="*/ 563452 h 575779"/>
              <a:gd name="connsiteX4" fmla="*/ 177277 w 844142"/>
              <a:gd name="connsiteY4" fmla="*/ 575779 h 575779"/>
              <a:gd name="connsiteX5" fmla="*/ 132984 w 844142"/>
              <a:gd name="connsiteY5" fmla="*/ 551737 h 575779"/>
              <a:gd name="connsiteX6" fmla="*/ 0 w 844142"/>
              <a:gd name="connsiteY6" fmla="*/ 301625 h 575779"/>
              <a:gd name="connsiteX7" fmla="*/ 301625 w 844142"/>
              <a:gd name="connsiteY7" fmla="*/ 0 h 575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4142" h="575779">
                <a:moveTo>
                  <a:pt x="301625" y="0"/>
                </a:moveTo>
                <a:lnTo>
                  <a:pt x="844142" y="0"/>
                </a:lnTo>
                <a:lnTo>
                  <a:pt x="776410" y="90576"/>
                </a:lnTo>
                <a:cubicBezTo>
                  <a:pt x="617917" y="282626"/>
                  <a:pt x="423260" y="443726"/>
                  <a:pt x="202865" y="563452"/>
                </a:cubicBezTo>
                <a:lnTo>
                  <a:pt x="177277" y="575779"/>
                </a:lnTo>
                <a:lnTo>
                  <a:pt x="132984" y="551737"/>
                </a:lnTo>
                <a:cubicBezTo>
                  <a:pt x="52751" y="497533"/>
                  <a:pt x="0" y="405740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rgbClr val="0E2841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B9BAB0B2-6D49-A810-0FF0-E3D20E84CD23}"/>
              </a:ext>
            </a:extLst>
          </p:cNvPr>
          <p:cNvSpPr/>
          <p:nvPr/>
        </p:nvSpPr>
        <p:spPr>
          <a:xfrm>
            <a:off x="3194051" y="1702792"/>
            <a:ext cx="1973733" cy="603250"/>
          </a:xfrm>
          <a:custGeom>
            <a:avLst/>
            <a:gdLst>
              <a:gd name="connsiteX0" fmla="*/ 301625 w 1973733"/>
              <a:gd name="connsiteY0" fmla="*/ 0 h 603250"/>
              <a:gd name="connsiteX1" fmla="*/ 1876425 w 1973733"/>
              <a:gd name="connsiteY1" fmla="*/ 0 h 603250"/>
              <a:gd name="connsiteX2" fmla="*/ 1937213 w 1973733"/>
              <a:gd name="connsiteY2" fmla="*/ 6128 h 603250"/>
              <a:gd name="connsiteX3" fmla="*/ 1973733 w 1973733"/>
              <a:gd name="connsiteY3" fmla="*/ 17465 h 603250"/>
              <a:gd name="connsiteX4" fmla="*/ 1814879 w 1973733"/>
              <a:gd name="connsiteY4" fmla="*/ 113971 h 603250"/>
              <a:gd name="connsiteX5" fmla="*/ 1401641 w 1973733"/>
              <a:gd name="connsiteY5" fmla="*/ 489458 h 603250"/>
              <a:gd name="connsiteX6" fmla="*/ 1316549 w 1973733"/>
              <a:gd name="connsiteY6" fmla="*/ 603250 h 603250"/>
              <a:gd name="connsiteX7" fmla="*/ 301625 w 1973733"/>
              <a:gd name="connsiteY7" fmla="*/ 603250 h 603250"/>
              <a:gd name="connsiteX8" fmla="*/ 0 w 1973733"/>
              <a:gd name="connsiteY8" fmla="*/ 301625 h 603250"/>
              <a:gd name="connsiteX9" fmla="*/ 301625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301625" y="0"/>
                </a:moveTo>
                <a:lnTo>
                  <a:pt x="1876425" y="0"/>
                </a:lnTo>
                <a:cubicBezTo>
                  <a:pt x="1897248" y="0"/>
                  <a:pt x="1917578" y="2110"/>
                  <a:pt x="1937213" y="6128"/>
                </a:cubicBezTo>
                <a:lnTo>
                  <a:pt x="1973733" y="17465"/>
                </a:lnTo>
                <a:lnTo>
                  <a:pt x="1814879" y="113971"/>
                </a:lnTo>
                <a:cubicBezTo>
                  <a:pt x="1659723" y="218792"/>
                  <a:pt x="1520511" y="345421"/>
                  <a:pt x="1401641" y="489458"/>
                </a:cubicBezTo>
                <a:lnTo>
                  <a:pt x="1316549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360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ternal Integr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echnical &amp; procedural implementation of data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vison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8A4BE821-8FB7-EEF9-B722-355804F1655D}"/>
              </a:ext>
            </a:extLst>
          </p:cNvPr>
          <p:cNvSpPr/>
          <p:nvPr/>
        </p:nvSpPr>
        <p:spPr>
          <a:xfrm>
            <a:off x="7024217" y="1702792"/>
            <a:ext cx="1973733" cy="603250"/>
          </a:xfrm>
          <a:custGeom>
            <a:avLst/>
            <a:gdLst>
              <a:gd name="connsiteX0" fmla="*/ 97308 w 1973733"/>
              <a:gd name="connsiteY0" fmla="*/ 0 h 603250"/>
              <a:gd name="connsiteX1" fmla="*/ 1672108 w 1973733"/>
              <a:gd name="connsiteY1" fmla="*/ 0 h 603250"/>
              <a:gd name="connsiteX2" fmla="*/ 1973733 w 1973733"/>
              <a:gd name="connsiteY2" fmla="*/ 301625 h 603250"/>
              <a:gd name="connsiteX3" fmla="*/ 1672108 w 1973733"/>
              <a:gd name="connsiteY3" fmla="*/ 603250 h 603250"/>
              <a:gd name="connsiteX4" fmla="*/ 657185 w 1973733"/>
              <a:gd name="connsiteY4" fmla="*/ 603250 h 603250"/>
              <a:gd name="connsiteX5" fmla="*/ 572093 w 1973733"/>
              <a:gd name="connsiteY5" fmla="*/ 489458 h 603250"/>
              <a:gd name="connsiteX6" fmla="*/ 158855 w 1973733"/>
              <a:gd name="connsiteY6" fmla="*/ 113971 h 603250"/>
              <a:gd name="connsiteX7" fmla="*/ 0 w 1973733"/>
              <a:gd name="connsiteY7" fmla="*/ 17464 h 603250"/>
              <a:gd name="connsiteX8" fmla="*/ 36520 w 1973733"/>
              <a:gd name="connsiteY8" fmla="*/ 6128 h 603250"/>
              <a:gd name="connsiteX9" fmla="*/ 97308 w 197373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3733" h="603250">
                <a:moveTo>
                  <a:pt x="97308" y="0"/>
                </a:moveTo>
                <a:lnTo>
                  <a:pt x="1672108" y="0"/>
                </a:lnTo>
                <a:cubicBezTo>
                  <a:pt x="1838691" y="0"/>
                  <a:pt x="1973733" y="135042"/>
                  <a:pt x="1973733" y="301625"/>
                </a:cubicBezTo>
                <a:cubicBezTo>
                  <a:pt x="1973733" y="468208"/>
                  <a:pt x="1838691" y="603250"/>
                  <a:pt x="1672108" y="603250"/>
                </a:cubicBezTo>
                <a:lnTo>
                  <a:pt x="657185" y="603250"/>
                </a:lnTo>
                <a:lnTo>
                  <a:pt x="572093" y="489458"/>
                </a:lnTo>
                <a:cubicBezTo>
                  <a:pt x="453223" y="345421"/>
                  <a:pt x="314011" y="218792"/>
                  <a:pt x="158855" y="113971"/>
                </a:cubicBezTo>
                <a:lnTo>
                  <a:pt x="0" y="17464"/>
                </a:lnTo>
                <a:lnTo>
                  <a:pt x="36520" y="6128"/>
                </a:lnTo>
                <a:cubicBezTo>
                  <a:pt x="56155" y="2110"/>
                  <a:pt x="76485" y="0"/>
                  <a:pt x="97308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57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TRACT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asis for future lega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ta exchange with partner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D390CAFE-4AC5-3C62-A83A-8D914974E502}"/>
              </a:ext>
            </a:extLst>
          </p:cNvPr>
          <p:cNvSpPr/>
          <p:nvPr/>
        </p:nvSpPr>
        <p:spPr>
          <a:xfrm>
            <a:off x="2482851" y="3127374"/>
            <a:ext cx="1694591" cy="603250"/>
          </a:xfrm>
          <a:custGeom>
            <a:avLst/>
            <a:gdLst>
              <a:gd name="connsiteX0" fmla="*/ 301625 w 1694591"/>
              <a:gd name="connsiteY0" fmla="*/ 0 h 603250"/>
              <a:gd name="connsiteX1" fmla="*/ 1694591 w 1694591"/>
              <a:gd name="connsiteY1" fmla="*/ 0 h 603250"/>
              <a:gd name="connsiteX2" fmla="*/ 1678897 w 1694591"/>
              <a:gd name="connsiteY2" fmla="*/ 102834 h 603250"/>
              <a:gd name="connsiteX3" fmla="*/ 1668859 w 1694591"/>
              <a:gd name="connsiteY3" fmla="*/ 301626 h 603250"/>
              <a:gd name="connsiteX4" fmla="*/ 1678897 w 1694591"/>
              <a:gd name="connsiteY4" fmla="*/ 500418 h 603250"/>
              <a:gd name="connsiteX5" fmla="*/ 1694591 w 1694591"/>
              <a:gd name="connsiteY5" fmla="*/ 603250 h 603250"/>
              <a:gd name="connsiteX6" fmla="*/ 301625 w 1694591"/>
              <a:gd name="connsiteY6" fmla="*/ 603250 h 603250"/>
              <a:gd name="connsiteX7" fmla="*/ 0 w 1694591"/>
              <a:gd name="connsiteY7" fmla="*/ 301625 h 603250"/>
              <a:gd name="connsiteX8" fmla="*/ 301625 w 1694591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1" h="603250">
                <a:moveTo>
                  <a:pt x="301625" y="0"/>
                </a:moveTo>
                <a:lnTo>
                  <a:pt x="1694591" y="0"/>
                </a:lnTo>
                <a:lnTo>
                  <a:pt x="1678897" y="102834"/>
                </a:lnTo>
                <a:cubicBezTo>
                  <a:pt x="1672259" y="168195"/>
                  <a:pt x="1668859" y="234514"/>
                  <a:pt x="1668859" y="301626"/>
                </a:cubicBezTo>
                <a:cubicBezTo>
                  <a:pt x="1668859" y="368739"/>
                  <a:pt x="1672259" y="435057"/>
                  <a:pt x="1678897" y="500418"/>
                </a:cubicBezTo>
                <a:lnTo>
                  <a:pt x="1694591" y="603250"/>
                </a:ln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nnecto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&amp; DT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Make-or-buy decision for connector &amp; digital twin registry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5BE392A3-D440-968A-361D-6463D4133537}"/>
              </a:ext>
            </a:extLst>
          </p:cNvPr>
          <p:cNvSpPr/>
          <p:nvPr/>
        </p:nvSpPr>
        <p:spPr>
          <a:xfrm>
            <a:off x="8014559" y="3127374"/>
            <a:ext cx="1694590" cy="603250"/>
          </a:xfrm>
          <a:custGeom>
            <a:avLst/>
            <a:gdLst>
              <a:gd name="connsiteX0" fmla="*/ 0 w 1694590"/>
              <a:gd name="connsiteY0" fmla="*/ 0 h 603250"/>
              <a:gd name="connsiteX1" fmla="*/ 1392965 w 1694590"/>
              <a:gd name="connsiteY1" fmla="*/ 0 h 603250"/>
              <a:gd name="connsiteX2" fmla="*/ 1694590 w 1694590"/>
              <a:gd name="connsiteY2" fmla="*/ 301625 h 603250"/>
              <a:gd name="connsiteX3" fmla="*/ 1392965 w 1694590"/>
              <a:gd name="connsiteY3" fmla="*/ 603250 h 603250"/>
              <a:gd name="connsiteX4" fmla="*/ 0 w 1694590"/>
              <a:gd name="connsiteY4" fmla="*/ 603250 h 603250"/>
              <a:gd name="connsiteX5" fmla="*/ 15694 w 1694590"/>
              <a:gd name="connsiteY5" fmla="*/ 500418 h 603250"/>
              <a:gd name="connsiteX6" fmla="*/ 25732 w 1694590"/>
              <a:gd name="connsiteY6" fmla="*/ 301626 h 603250"/>
              <a:gd name="connsiteX7" fmla="*/ 15694 w 1694590"/>
              <a:gd name="connsiteY7" fmla="*/ 102834 h 603250"/>
              <a:gd name="connsiteX8" fmla="*/ 0 w 1694590"/>
              <a:gd name="connsiteY8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4590" h="603250">
                <a:moveTo>
                  <a:pt x="0" y="0"/>
                </a:moveTo>
                <a:lnTo>
                  <a:pt x="1392965" y="0"/>
                </a:lnTo>
                <a:cubicBezTo>
                  <a:pt x="1559548" y="0"/>
                  <a:pt x="1694590" y="135042"/>
                  <a:pt x="1694590" y="301625"/>
                </a:cubicBezTo>
                <a:cubicBezTo>
                  <a:pt x="1694590" y="468208"/>
                  <a:pt x="1559548" y="603250"/>
                  <a:pt x="1392965" y="603250"/>
                </a:cubicBezTo>
                <a:lnTo>
                  <a:pt x="0" y="603250"/>
                </a:lnTo>
                <a:lnTo>
                  <a:pt x="15694" y="500418"/>
                </a:lnTo>
                <a:cubicBezTo>
                  <a:pt x="22332" y="435057"/>
                  <a:pt x="25732" y="368739"/>
                  <a:pt x="25732" y="301626"/>
                </a:cubicBezTo>
                <a:cubicBezTo>
                  <a:pt x="25732" y="234514"/>
                  <a:pt x="22332" y="168195"/>
                  <a:pt x="15694" y="10283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BPN</a:t>
            </a: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igital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via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gistering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o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finity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-X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C20E8E7A-F6E2-E9DB-0B6E-49486D4A4FA0}"/>
              </a:ext>
            </a:extLst>
          </p:cNvPr>
          <p:cNvSpPr/>
          <p:nvPr/>
        </p:nvSpPr>
        <p:spPr>
          <a:xfrm>
            <a:off x="3194050" y="4575174"/>
            <a:ext cx="2000774" cy="603250"/>
          </a:xfrm>
          <a:custGeom>
            <a:avLst/>
            <a:gdLst>
              <a:gd name="connsiteX0" fmla="*/ 301625 w 2000774"/>
              <a:gd name="connsiteY0" fmla="*/ 0 h 603250"/>
              <a:gd name="connsiteX1" fmla="*/ 1333909 w 2000774"/>
              <a:gd name="connsiteY1" fmla="*/ 0 h 603250"/>
              <a:gd name="connsiteX2" fmla="*/ 1401641 w 2000774"/>
              <a:gd name="connsiteY2" fmla="*/ 90576 h 603250"/>
              <a:gd name="connsiteX3" fmla="*/ 1975186 w 2000774"/>
              <a:gd name="connsiteY3" fmla="*/ 563452 h 603250"/>
              <a:gd name="connsiteX4" fmla="*/ 2000774 w 2000774"/>
              <a:gd name="connsiteY4" fmla="*/ 575779 h 603250"/>
              <a:gd name="connsiteX5" fmla="*/ 1993831 w 2000774"/>
              <a:gd name="connsiteY5" fmla="*/ 579547 h 603250"/>
              <a:gd name="connsiteX6" fmla="*/ 1876425 w 2000774"/>
              <a:gd name="connsiteY6" fmla="*/ 603250 h 603250"/>
              <a:gd name="connsiteX7" fmla="*/ 301625 w 2000774"/>
              <a:gd name="connsiteY7" fmla="*/ 603250 h 603250"/>
              <a:gd name="connsiteX8" fmla="*/ 0 w 2000774"/>
              <a:gd name="connsiteY8" fmla="*/ 301625 h 603250"/>
              <a:gd name="connsiteX9" fmla="*/ 301625 w 2000774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4" h="603250">
                <a:moveTo>
                  <a:pt x="301625" y="0"/>
                </a:moveTo>
                <a:lnTo>
                  <a:pt x="1333909" y="0"/>
                </a:lnTo>
                <a:lnTo>
                  <a:pt x="1401641" y="90576"/>
                </a:lnTo>
                <a:cubicBezTo>
                  <a:pt x="1560134" y="282626"/>
                  <a:pt x="1754791" y="443726"/>
                  <a:pt x="1975186" y="563452"/>
                </a:cubicBezTo>
                <a:lnTo>
                  <a:pt x="2000774" y="575779"/>
                </a:lnTo>
                <a:lnTo>
                  <a:pt x="1993831" y="579547"/>
                </a:lnTo>
                <a:cubicBezTo>
                  <a:pt x="1957745" y="594810"/>
                  <a:pt x="1918071" y="603250"/>
                  <a:pt x="1876425" y="603250"/>
                </a:cubicBezTo>
                <a:lnTo>
                  <a:pt x="301625" y="603250"/>
                </a:lnTo>
                <a:cubicBezTo>
                  <a:pt x="135042" y="603250"/>
                  <a:pt x="0" y="468208"/>
                  <a:pt x="0" y="301625"/>
                </a:cubicBezTo>
                <a:cubicBezTo>
                  <a:pt x="0" y="135042"/>
                  <a:pt x="135042" y="0"/>
                  <a:pt x="301625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ndard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nderstand Catena-X and Standards</a:t>
            </a: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910685BD-7D97-FA1D-0FA0-CD11D861B3AB}"/>
              </a:ext>
            </a:extLst>
          </p:cNvPr>
          <p:cNvSpPr/>
          <p:nvPr/>
        </p:nvSpPr>
        <p:spPr>
          <a:xfrm>
            <a:off x="6997177" y="4575174"/>
            <a:ext cx="2000773" cy="603250"/>
          </a:xfrm>
          <a:custGeom>
            <a:avLst/>
            <a:gdLst>
              <a:gd name="connsiteX0" fmla="*/ 666865 w 2000773"/>
              <a:gd name="connsiteY0" fmla="*/ 0 h 603250"/>
              <a:gd name="connsiteX1" fmla="*/ 1699148 w 2000773"/>
              <a:gd name="connsiteY1" fmla="*/ 0 h 603250"/>
              <a:gd name="connsiteX2" fmla="*/ 2000773 w 2000773"/>
              <a:gd name="connsiteY2" fmla="*/ 301625 h 603250"/>
              <a:gd name="connsiteX3" fmla="*/ 1699148 w 2000773"/>
              <a:gd name="connsiteY3" fmla="*/ 603250 h 603250"/>
              <a:gd name="connsiteX4" fmla="*/ 124348 w 2000773"/>
              <a:gd name="connsiteY4" fmla="*/ 603250 h 603250"/>
              <a:gd name="connsiteX5" fmla="*/ 6942 w 2000773"/>
              <a:gd name="connsiteY5" fmla="*/ 579547 h 603250"/>
              <a:gd name="connsiteX6" fmla="*/ 0 w 2000773"/>
              <a:gd name="connsiteY6" fmla="*/ 575779 h 603250"/>
              <a:gd name="connsiteX7" fmla="*/ 25588 w 2000773"/>
              <a:gd name="connsiteY7" fmla="*/ 563452 h 603250"/>
              <a:gd name="connsiteX8" fmla="*/ 599133 w 2000773"/>
              <a:gd name="connsiteY8" fmla="*/ 90576 h 603250"/>
              <a:gd name="connsiteX9" fmla="*/ 666865 w 2000773"/>
              <a:gd name="connsiteY9" fmla="*/ 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00773" h="603250">
                <a:moveTo>
                  <a:pt x="666865" y="0"/>
                </a:moveTo>
                <a:lnTo>
                  <a:pt x="1699148" y="0"/>
                </a:lnTo>
                <a:cubicBezTo>
                  <a:pt x="1865731" y="0"/>
                  <a:pt x="2000773" y="135042"/>
                  <a:pt x="2000773" y="301625"/>
                </a:cubicBezTo>
                <a:cubicBezTo>
                  <a:pt x="2000773" y="468208"/>
                  <a:pt x="1865731" y="603250"/>
                  <a:pt x="1699148" y="603250"/>
                </a:cubicBezTo>
                <a:lnTo>
                  <a:pt x="124348" y="603250"/>
                </a:lnTo>
                <a:cubicBezTo>
                  <a:pt x="82702" y="603250"/>
                  <a:pt x="43028" y="594810"/>
                  <a:pt x="6942" y="579547"/>
                </a:cubicBezTo>
                <a:lnTo>
                  <a:pt x="0" y="575779"/>
                </a:lnTo>
                <a:lnTo>
                  <a:pt x="25588" y="563452"/>
                </a:lnTo>
                <a:cubicBezTo>
                  <a:pt x="245983" y="443726"/>
                  <a:pt x="440640" y="282626"/>
                  <a:pt x="599133" y="90576"/>
                </a:cubicBezTo>
                <a:lnTo>
                  <a:pt x="666865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43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dentity your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seCas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and benefits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95EF9227-51CD-0C82-B5DF-C71739E4CF98}"/>
              </a:ext>
            </a:extLst>
          </p:cNvPr>
          <p:cNvSpPr/>
          <p:nvPr/>
        </p:nvSpPr>
        <p:spPr>
          <a:xfrm>
            <a:off x="5562598" y="5404637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tart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308FC025-3D4B-2E35-3ADE-76BA0CDE8D63}"/>
              </a:ext>
            </a:extLst>
          </p:cNvPr>
          <p:cNvSpPr/>
          <p:nvPr/>
        </p:nvSpPr>
        <p:spPr>
          <a:xfrm>
            <a:off x="5562598" y="983414"/>
            <a:ext cx="1066799" cy="41533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ady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646F045-E3FE-1240-9B7E-9128317C5147}"/>
              </a:ext>
            </a:extLst>
          </p:cNvPr>
          <p:cNvSpPr/>
          <p:nvPr/>
        </p:nvSpPr>
        <p:spPr>
          <a:xfrm>
            <a:off x="5879632" y="46604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8943ADC-6A05-9522-3065-A0866DFB681B}"/>
              </a:ext>
            </a:extLst>
          </p:cNvPr>
          <p:cNvSpPr/>
          <p:nvPr/>
        </p:nvSpPr>
        <p:spPr>
          <a:xfrm>
            <a:off x="5879632" y="321263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0EECFC2E-5E8B-7A66-B042-AA545C9FBEC8}"/>
              </a:ext>
            </a:extLst>
          </p:cNvPr>
          <p:cNvSpPr/>
          <p:nvPr/>
        </p:nvSpPr>
        <p:spPr>
          <a:xfrm>
            <a:off x="5879632" y="1796781"/>
            <a:ext cx="432735" cy="432735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</a:p>
        </p:txBody>
      </p:sp>
      <p:pic>
        <p:nvPicPr>
          <p:cNvPr id="27" name="Grafik 26" descr="Aktenkoffer Silhouette">
            <a:extLst>
              <a:ext uri="{FF2B5EF4-FFF2-40B4-BE49-F238E27FC236}">
                <a16:creationId xmlns:a16="http://schemas.microsoft.com/office/drawing/2014/main" id="{A6C56E7A-67BD-859F-A7E1-8E9ADBDEB3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29596" y="4647725"/>
            <a:ext cx="328688" cy="328688"/>
          </a:xfrm>
          <a:prstGeom prst="rect">
            <a:avLst/>
          </a:prstGeom>
        </p:spPr>
      </p:pic>
      <p:pic>
        <p:nvPicPr>
          <p:cNvPr id="28" name="Grafik 27" descr="Mitarbeitendenausweis Silhouette">
            <a:extLst>
              <a:ext uri="{FF2B5EF4-FFF2-40B4-BE49-F238E27FC236}">
                <a16:creationId xmlns:a16="http://schemas.microsoft.com/office/drawing/2014/main" id="{EFBD6CB2-8EBF-F981-C05A-8611D96956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96982" y="3212631"/>
            <a:ext cx="377426" cy="377426"/>
          </a:xfrm>
          <a:prstGeom prst="rect">
            <a:avLst/>
          </a:prstGeom>
        </p:spPr>
      </p:pic>
      <p:pic>
        <p:nvPicPr>
          <p:cNvPr id="29" name="Grafik 28" descr="Vertrag Silhouette">
            <a:extLst>
              <a:ext uri="{FF2B5EF4-FFF2-40B4-BE49-F238E27FC236}">
                <a16:creationId xmlns:a16="http://schemas.microsoft.com/office/drawing/2014/main" id="{824B6B1D-A7B8-2E80-75FF-B81C92C5033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44220" y="1900236"/>
            <a:ext cx="319753" cy="319753"/>
          </a:xfrm>
          <a:prstGeom prst="rect">
            <a:avLst/>
          </a:prstGeom>
        </p:spPr>
      </p:pic>
      <p:pic>
        <p:nvPicPr>
          <p:cNvPr id="30" name="Grafik 29" descr="Zeitung Silhouette">
            <a:extLst>
              <a:ext uri="{FF2B5EF4-FFF2-40B4-BE49-F238E27FC236}">
                <a16:creationId xmlns:a16="http://schemas.microsoft.com/office/drawing/2014/main" id="{81624CF8-141C-154D-9F3A-38009B948C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01781" y="4650905"/>
            <a:ext cx="391942" cy="391942"/>
          </a:xfrm>
          <a:prstGeom prst="rect">
            <a:avLst/>
          </a:prstGeom>
        </p:spPr>
      </p:pic>
      <p:pic>
        <p:nvPicPr>
          <p:cNvPr id="31" name="Grafik 30" descr="Server Silhouette">
            <a:extLst>
              <a:ext uri="{FF2B5EF4-FFF2-40B4-BE49-F238E27FC236}">
                <a16:creationId xmlns:a16="http://schemas.microsoft.com/office/drawing/2014/main" id="{A620EB75-2555-8818-0D70-EA5B1F51FB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97744" y="3217077"/>
            <a:ext cx="393098" cy="393098"/>
          </a:xfrm>
          <a:prstGeom prst="rect">
            <a:avLst/>
          </a:prstGeom>
        </p:spPr>
      </p:pic>
      <p:pic>
        <p:nvPicPr>
          <p:cNvPr id="32" name="Grafik 31" descr="Flussdiagramm Silhouette">
            <a:extLst>
              <a:ext uri="{FF2B5EF4-FFF2-40B4-BE49-F238E27FC236}">
                <a16:creationId xmlns:a16="http://schemas.microsoft.com/office/drawing/2014/main" id="{4E2E24E2-450A-75A4-62B8-7E1EE71F724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02365" y="1834380"/>
            <a:ext cx="380671" cy="380671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F40B40EC-62DB-5F20-3D69-1138C80B56BD}"/>
              </a:ext>
            </a:extLst>
          </p:cNvPr>
          <p:cNvSpPr txBox="1"/>
          <p:nvPr/>
        </p:nvSpPr>
        <p:spPr>
          <a:xfrm>
            <a:off x="7050999" y="5427637"/>
            <a:ext cx="1141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Business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EDF7690-F532-F38A-503D-21BDD052E734}"/>
              </a:ext>
            </a:extLst>
          </p:cNvPr>
          <p:cNvSpPr txBox="1"/>
          <p:nvPr/>
        </p:nvSpPr>
        <p:spPr>
          <a:xfrm>
            <a:off x="3919997" y="5430180"/>
            <a:ext cx="11869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Technical</a:t>
            </a:r>
          </a:p>
        </p:txBody>
      </p:sp>
      <p:sp>
        <p:nvSpPr>
          <p:cNvPr id="35" name="Pfeil: Chevron 34">
            <a:extLst>
              <a:ext uri="{FF2B5EF4-FFF2-40B4-BE49-F238E27FC236}">
                <a16:creationId xmlns:a16="http://schemas.microsoft.com/office/drawing/2014/main" id="{1285D2A5-C86F-9A00-2385-6D794AC02A42}"/>
              </a:ext>
            </a:extLst>
          </p:cNvPr>
          <p:cNvSpPr/>
          <p:nvPr/>
        </p:nvSpPr>
        <p:spPr>
          <a:xfrm>
            <a:off x="6728500" y="5466749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Pfeil: Chevron 35">
            <a:extLst>
              <a:ext uri="{FF2B5EF4-FFF2-40B4-BE49-F238E27FC236}">
                <a16:creationId xmlns:a16="http://schemas.microsoft.com/office/drawing/2014/main" id="{9E7EBC16-4031-5B1A-A611-BB76C0989848}"/>
              </a:ext>
            </a:extLst>
          </p:cNvPr>
          <p:cNvSpPr/>
          <p:nvPr/>
        </p:nvSpPr>
        <p:spPr>
          <a:xfrm flipH="1">
            <a:off x="5172388" y="5469234"/>
            <a:ext cx="291107" cy="291107"/>
          </a:xfrm>
          <a:prstGeom prst="chevron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795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D33CE-8B8E-ABE3-1968-6A3E077436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32F3D8E7-E03E-5A40-7920-B3765559EF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F3D8E7-E03E-5A40-7920-B3765559E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hteck 47">
            <a:extLst>
              <a:ext uri="{FF2B5EF4-FFF2-40B4-BE49-F238E27FC236}">
                <a16:creationId xmlns:a16="http://schemas.microsoft.com/office/drawing/2014/main" id="{7D87310E-DC42-2191-93B2-BE2FE5317CA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Titel 4">
            <a:extLst>
              <a:ext uri="{FF2B5EF4-FFF2-40B4-BE49-F238E27FC236}">
                <a16:creationId xmlns:a16="http://schemas.microsoft.com/office/drawing/2014/main" id="{7FFE8BEC-E319-1CFD-A111-C6FEBC9A4051}"/>
              </a:ext>
            </a:extLst>
          </p:cNvPr>
          <p:cNvSpPr txBox="1">
            <a:spLocks/>
          </p:cNvSpPr>
          <p:nvPr/>
        </p:nvSpPr>
        <p:spPr>
          <a:xfrm>
            <a:off x="596182" y="702602"/>
            <a:ext cx="10936211" cy="549277"/>
          </a:xfrm>
          <a:prstGeom prst="rect">
            <a:avLst/>
          </a:prstGeom>
        </p:spPr>
        <p:txBody>
          <a:bodyPr vert="horz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Options to Participate in PURIS</a:t>
            </a:r>
          </a:p>
        </p:txBody>
      </p:sp>
      <p:pic>
        <p:nvPicPr>
          <p:cNvPr id="16" name="Grafik 15" descr="Monitor Silhouette">
            <a:extLst>
              <a:ext uri="{FF2B5EF4-FFF2-40B4-BE49-F238E27FC236}">
                <a16:creationId xmlns:a16="http://schemas.microsoft.com/office/drawing/2014/main" id="{8FB880BB-38A2-F5D1-D4F8-075B74846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188" y="1448402"/>
            <a:ext cx="2118770" cy="2118770"/>
          </a:xfrm>
          <a:prstGeom prst="rect">
            <a:avLst/>
          </a:prstGeom>
        </p:spPr>
      </p:pic>
      <p:pic>
        <p:nvPicPr>
          <p:cNvPr id="17" name="Grafik 16" descr="Tabelle mit einfarbiger Füllung">
            <a:extLst>
              <a:ext uri="{FF2B5EF4-FFF2-40B4-BE49-F238E27FC236}">
                <a16:creationId xmlns:a16="http://schemas.microsoft.com/office/drawing/2014/main" id="{19ECA327-D187-E8C8-5D4A-0799BA5F33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77068" y="1768822"/>
            <a:ext cx="1069358" cy="1069358"/>
          </a:xfrm>
          <a:prstGeom prst="rect">
            <a:avLst/>
          </a:prstGeom>
        </p:spPr>
      </p:pic>
      <p:pic>
        <p:nvPicPr>
          <p:cNvPr id="18" name="Grafik 17" descr="Tabelle Silhouette">
            <a:extLst>
              <a:ext uri="{FF2B5EF4-FFF2-40B4-BE49-F238E27FC236}">
                <a16:creationId xmlns:a16="http://schemas.microsoft.com/office/drawing/2014/main" id="{95C29834-FCDE-5B83-5EC6-182C65BEDE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2176607"/>
            <a:ext cx="457200" cy="457200"/>
          </a:xfrm>
          <a:prstGeom prst="rect">
            <a:avLst/>
          </a:prstGeom>
        </p:spPr>
      </p:pic>
      <p:pic>
        <p:nvPicPr>
          <p:cNvPr id="19" name="Grafik 18" descr="Tabelle Silhouette">
            <a:extLst>
              <a:ext uri="{FF2B5EF4-FFF2-40B4-BE49-F238E27FC236}">
                <a16:creationId xmlns:a16="http://schemas.microsoft.com/office/drawing/2014/main" id="{972B01B6-2E06-E770-6B35-6419DF74B7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43136" y="1877957"/>
            <a:ext cx="457200" cy="457200"/>
          </a:xfrm>
          <a:prstGeom prst="rect">
            <a:avLst/>
          </a:prstGeom>
        </p:spPr>
      </p:pic>
      <p:pic>
        <p:nvPicPr>
          <p:cNvPr id="20" name="Grafik 19" descr="Monitor Silhouette">
            <a:extLst>
              <a:ext uri="{FF2B5EF4-FFF2-40B4-BE49-F238E27FC236}">
                <a16:creationId xmlns:a16="http://schemas.microsoft.com/office/drawing/2014/main" id="{6925B327-28E8-1DB1-7432-8173AD8EDB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38240" y="1532488"/>
            <a:ext cx="2118770" cy="2118770"/>
          </a:xfrm>
          <a:prstGeom prst="rect">
            <a:avLst/>
          </a:prstGeom>
        </p:spPr>
      </p:pic>
      <p:pic>
        <p:nvPicPr>
          <p:cNvPr id="21" name="Grafik 20" descr="Tabelle Silhouette">
            <a:extLst>
              <a:ext uri="{FF2B5EF4-FFF2-40B4-BE49-F238E27FC236}">
                <a16:creationId xmlns:a16="http://schemas.microsoft.com/office/drawing/2014/main" id="{5231C3ED-3DB4-1AC3-007E-B5060E08217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2260693"/>
            <a:ext cx="457200" cy="457200"/>
          </a:xfrm>
          <a:prstGeom prst="rect">
            <a:avLst/>
          </a:prstGeom>
        </p:spPr>
      </p:pic>
      <p:pic>
        <p:nvPicPr>
          <p:cNvPr id="22" name="Grafik 21" descr="Tabelle Silhouette">
            <a:extLst>
              <a:ext uri="{FF2B5EF4-FFF2-40B4-BE49-F238E27FC236}">
                <a16:creationId xmlns:a16="http://schemas.microsoft.com/office/drawing/2014/main" id="{F8CE7E0A-8F00-97AD-0A86-C6BB8BB95B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2188" y="1962043"/>
            <a:ext cx="457200" cy="457200"/>
          </a:xfrm>
          <a:prstGeom prst="rect">
            <a:avLst/>
          </a:prstGeom>
        </p:spPr>
      </p:pic>
      <p:pic>
        <p:nvPicPr>
          <p:cNvPr id="23" name="Grafik 22" descr="Münzen Silhouette">
            <a:extLst>
              <a:ext uri="{FF2B5EF4-FFF2-40B4-BE49-F238E27FC236}">
                <a16:creationId xmlns:a16="http://schemas.microsoft.com/office/drawing/2014/main" id="{80E9F5EC-F66C-4DF1-A1C6-C6952EC385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03443" y="1779976"/>
            <a:ext cx="653161" cy="653161"/>
          </a:xfrm>
          <a:prstGeom prst="rect">
            <a:avLst/>
          </a:prstGeom>
        </p:spPr>
      </p:pic>
      <p:pic>
        <p:nvPicPr>
          <p:cNvPr id="24" name="Grafik 23" descr="Fragen Silhouette">
            <a:extLst>
              <a:ext uri="{FF2B5EF4-FFF2-40B4-BE49-F238E27FC236}">
                <a16:creationId xmlns:a16="http://schemas.microsoft.com/office/drawing/2014/main" id="{1B4ABCB4-D21B-B87C-BCD9-E03C8633599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71880" y="1776731"/>
            <a:ext cx="653161" cy="653161"/>
          </a:xfrm>
          <a:prstGeom prst="rect">
            <a:avLst/>
          </a:prstGeom>
        </p:spPr>
      </p:pic>
      <p:pic>
        <p:nvPicPr>
          <p:cNvPr id="25" name="Grafik 24" descr="Schraubenschlüssel Silhouette">
            <a:extLst>
              <a:ext uri="{FF2B5EF4-FFF2-40B4-BE49-F238E27FC236}">
                <a16:creationId xmlns:a16="http://schemas.microsoft.com/office/drawing/2014/main" id="{EB25C1C7-6125-9DB8-9B45-653B732CCE0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923663" y="2637030"/>
            <a:ext cx="558790" cy="558790"/>
          </a:xfrm>
          <a:prstGeom prst="rect">
            <a:avLst/>
          </a:prstGeom>
        </p:spPr>
      </p:pic>
      <p:pic>
        <p:nvPicPr>
          <p:cNvPr id="26" name="Grafik 25" descr="Signal Silhouette">
            <a:extLst>
              <a:ext uri="{FF2B5EF4-FFF2-40B4-BE49-F238E27FC236}">
                <a16:creationId xmlns:a16="http://schemas.microsoft.com/office/drawing/2014/main" id="{9ED1535C-56FD-4B44-899E-407054C2AAC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675183" y="2011877"/>
            <a:ext cx="914400" cy="914400"/>
          </a:xfrm>
          <a:prstGeom prst="rect">
            <a:avLst/>
          </a:prstGeom>
        </p:spPr>
      </p:pic>
      <p:pic>
        <p:nvPicPr>
          <p:cNvPr id="27" name="Grafik 26" descr="Monitor Silhouette">
            <a:extLst>
              <a:ext uri="{FF2B5EF4-FFF2-40B4-BE49-F238E27FC236}">
                <a16:creationId xmlns:a16="http://schemas.microsoft.com/office/drawing/2014/main" id="{6C2D4EF9-DB5C-D327-0995-A9F8D3F4C7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6763" y="1513494"/>
            <a:ext cx="2118770" cy="2118770"/>
          </a:xfrm>
          <a:prstGeom prst="rect">
            <a:avLst/>
          </a:prstGeom>
        </p:spPr>
      </p:pic>
      <p:pic>
        <p:nvPicPr>
          <p:cNvPr id="28" name="Grafik 27" descr="Tabelle Silhouette">
            <a:extLst>
              <a:ext uri="{FF2B5EF4-FFF2-40B4-BE49-F238E27FC236}">
                <a16:creationId xmlns:a16="http://schemas.microsoft.com/office/drawing/2014/main" id="{864DA0B9-EADA-8054-A16C-D3E80EAB08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2241699"/>
            <a:ext cx="457200" cy="457200"/>
          </a:xfrm>
          <a:prstGeom prst="rect">
            <a:avLst/>
          </a:prstGeom>
        </p:spPr>
      </p:pic>
      <p:pic>
        <p:nvPicPr>
          <p:cNvPr id="29" name="Grafik 28" descr="Tabelle Silhouette">
            <a:extLst>
              <a:ext uri="{FF2B5EF4-FFF2-40B4-BE49-F238E27FC236}">
                <a16:creationId xmlns:a16="http://schemas.microsoft.com/office/drawing/2014/main" id="{FE7A3936-462A-FA55-EF5B-C4B82EE4EB0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00711" y="1943049"/>
            <a:ext cx="457200" cy="457200"/>
          </a:xfrm>
          <a:prstGeom prst="rect">
            <a:avLst/>
          </a:prstGeom>
        </p:spPr>
      </p:pic>
      <p:pic>
        <p:nvPicPr>
          <p:cNvPr id="30" name="Grafik 29" descr="Kreisdiagramm Silhouette">
            <a:extLst>
              <a:ext uri="{FF2B5EF4-FFF2-40B4-BE49-F238E27FC236}">
                <a16:creationId xmlns:a16="http://schemas.microsoft.com/office/drawing/2014/main" id="{99BDC376-73E4-45BC-CC1C-45109A8E10F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421433" y="1971348"/>
            <a:ext cx="649430" cy="649430"/>
          </a:xfrm>
          <a:prstGeom prst="rect">
            <a:avLst/>
          </a:prstGeom>
        </p:spPr>
      </p:pic>
      <p:pic>
        <p:nvPicPr>
          <p:cNvPr id="31" name="Grafik 30" descr="Signal Silhouette">
            <a:extLst>
              <a:ext uri="{FF2B5EF4-FFF2-40B4-BE49-F238E27FC236}">
                <a16:creationId xmlns:a16="http://schemas.microsoft.com/office/drawing/2014/main" id="{3F0C04E6-1D92-0B84-224C-19FC311497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39363" y="2060550"/>
            <a:ext cx="914400" cy="914400"/>
          </a:xfrm>
          <a:prstGeom prst="rect">
            <a:avLst/>
          </a:prstGeom>
        </p:spPr>
      </p:pic>
      <p:pic>
        <p:nvPicPr>
          <p:cNvPr id="32" name="Grafik 31" descr="Fabrik Silhouette">
            <a:extLst>
              <a:ext uri="{FF2B5EF4-FFF2-40B4-BE49-F238E27FC236}">
                <a16:creationId xmlns:a16="http://schemas.microsoft.com/office/drawing/2014/main" id="{F2E1B75B-49D4-AF96-F5AF-DFDC4B2A17B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769055" y="1603350"/>
            <a:ext cx="914400" cy="914400"/>
          </a:xfrm>
          <a:prstGeom prst="rect">
            <a:avLst/>
          </a:prstGeom>
        </p:spPr>
      </p:pic>
      <p:pic>
        <p:nvPicPr>
          <p:cNvPr id="33" name="Grafik 32" descr="Datenbank Silhouette">
            <a:extLst>
              <a:ext uri="{FF2B5EF4-FFF2-40B4-BE49-F238E27FC236}">
                <a16:creationId xmlns:a16="http://schemas.microsoft.com/office/drawing/2014/main" id="{4DE788A0-34B0-EDA9-D2EC-CC7EBD69CB1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878835" y="2777252"/>
            <a:ext cx="694840" cy="69484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158A0820-5E52-9EFB-0AE0-C2A02C96BC75}"/>
              </a:ext>
            </a:extLst>
          </p:cNvPr>
          <p:cNvCxnSpPr/>
          <p:nvPr/>
        </p:nvCxnSpPr>
        <p:spPr>
          <a:xfrm>
            <a:off x="11226255" y="2429566"/>
            <a:ext cx="0" cy="382423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353E4C4-25A9-42B2-1AFB-4E6F10A9A87C}"/>
              </a:ext>
            </a:extLst>
          </p:cNvPr>
          <p:cNvCxnSpPr>
            <a:cxnSpLocks/>
          </p:cNvCxnSpPr>
          <p:nvPr/>
        </p:nvCxnSpPr>
        <p:spPr>
          <a:xfrm flipH="1">
            <a:off x="10270939" y="3305413"/>
            <a:ext cx="607896" cy="0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35" descr="Palette Silhouette">
            <a:extLst>
              <a:ext uri="{FF2B5EF4-FFF2-40B4-BE49-F238E27FC236}">
                <a16:creationId xmlns:a16="http://schemas.microsoft.com/office/drawing/2014/main" id="{4F083113-CE98-CF3C-371F-05AD5AACDA6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788418" y="2530896"/>
            <a:ext cx="653161" cy="653161"/>
          </a:xfrm>
          <a:prstGeom prst="rect">
            <a:avLst/>
          </a:prstGeom>
        </p:spPr>
      </p:pic>
      <p:sp>
        <p:nvSpPr>
          <p:cNvPr id="37" name="Kreuz 36">
            <a:extLst>
              <a:ext uri="{FF2B5EF4-FFF2-40B4-BE49-F238E27FC236}">
                <a16:creationId xmlns:a16="http://schemas.microsoft.com/office/drawing/2014/main" id="{09C32EA8-1A35-CC24-FAC6-98227DD486BB}"/>
              </a:ext>
            </a:extLst>
          </p:cNvPr>
          <p:cNvSpPr/>
          <p:nvPr/>
        </p:nvSpPr>
        <p:spPr>
          <a:xfrm>
            <a:off x="3299539" y="1719811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" name="Kreuz 37">
            <a:extLst>
              <a:ext uri="{FF2B5EF4-FFF2-40B4-BE49-F238E27FC236}">
                <a16:creationId xmlns:a16="http://schemas.microsoft.com/office/drawing/2014/main" id="{5DB3EE8C-7DB9-A69A-6C3D-12B43D2685FB}"/>
              </a:ext>
            </a:extLst>
          </p:cNvPr>
          <p:cNvSpPr/>
          <p:nvPr/>
        </p:nvSpPr>
        <p:spPr>
          <a:xfrm>
            <a:off x="3295378" y="2469170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" name="Kreuz 38">
            <a:extLst>
              <a:ext uri="{FF2B5EF4-FFF2-40B4-BE49-F238E27FC236}">
                <a16:creationId xmlns:a16="http://schemas.microsoft.com/office/drawing/2014/main" id="{3F650C0D-EF73-DD52-2F92-0D86C8B82D52}"/>
              </a:ext>
            </a:extLst>
          </p:cNvPr>
          <p:cNvSpPr/>
          <p:nvPr/>
        </p:nvSpPr>
        <p:spPr>
          <a:xfrm>
            <a:off x="7482453" y="1649659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" name="Kreuz 39">
            <a:extLst>
              <a:ext uri="{FF2B5EF4-FFF2-40B4-BE49-F238E27FC236}">
                <a16:creationId xmlns:a16="http://schemas.microsoft.com/office/drawing/2014/main" id="{3D243230-EF68-63EC-1E0B-C16A9863152E}"/>
              </a:ext>
            </a:extLst>
          </p:cNvPr>
          <p:cNvSpPr/>
          <p:nvPr/>
        </p:nvSpPr>
        <p:spPr>
          <a:xfrm>
            <a:off x="7482453" y="2469938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1" name="Kreuz 40">
            <a:extLst>
              <a:ext uri="{FF2B5EF4-FFF2-40B4-BE49-F238E27FC236}">
                <a16:creationId xmlns:a16="http://schemas.microsoft.com/office/drawing/2014/main" id="{677A8407-0CB4-621D-2512-EBD9871D788C}"/>
              </a:ext>
            </a:extLst>
          </p:cNvPr>
          <p:cNvSpPr/>
          <p:nvPr/>
        </p:nvSpPr>
        <p:spPr>
          <a:xfrm>
            <a:off x="11567596" y="1698736"/>
            <a:ext cx="231718" cy="231718"/>
          </a:xfrm>
          <a:prstGeom prst="plus">
            <a:avLst>
              <a:gd name="adj" fmla="val 34811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noProof="0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081876B8-0290-EB52-8D4D-C29EBC5C3457}"/>
              </a:ext>
            </a:extLst>
          </p:cNvPr>
          <p:cNvSpPr txBox="1"/>
          <p:nvPr/>
        </p:nvSpPr>
        <p:spPr>
          <a:xfrm>
            <a:off x="725486" y="3556085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elf-Hosting PURIS FOSS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67A3A75-27E1-DE51-CCDA-26020C0E1EEE}"/>
              </a:ext>
            </a:extLst>
          </p:cNvPr>
          <p:cNvSpPr txBox="1"/>
          <p:nvPr/>
        </p:nvSpPr>
        <p:spPr>
          <a:xfrm>
            <a:off x="4943467" y="3546361"/>
            <a:ext cx="22123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Software as a Service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E7AB931C-0A4D-DE69-5442-976B16F7120D}"/>
              </a:ext>
            </a:extLst>
          </p:cNvPr>
          <p:cNvSpPr txBox="1"/>
          <p:nvPr/>
        </p:nvSpPr>
        <p:spPr>
          <a:xfrm>
            <a:off x="8824913" y="3546361"/>
            <a:ext cx="30364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noProof="0" dirty="0">
                <a:solidFill>
                  <a:schemeClr val="bg1"/>
                </a:solidFill>
                <a:latin typeface="Segoe UI" panose="020B0502040204020203" pitchFamily="34" charset="0"/>
              </a:rPr>
              <a:t>Individual Enterprise Solution</a:t>
            </a:r>
            <a:endParaRPr lang="en-US" sz="1600" b="1" i="0" noProof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6D3FE5D8-80AB-AD40-E06A-0777AE3395A4}"/>
              </a:ext>
            </a:extLst>
          </p:cNvPr>
          <p:cNvSpPr txBox="1"/>
          <p:nvPr/>
        </p:nvSpPr>
        <p:spPr>
          <a:xfrm>
            <a:off x="694482" y="3996017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 to 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exibility and customiz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unity support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D06C395C-AF24-3041-B571-92B9D29C1549}"/>
              </a:ext>
            </a:extLst>
          </p:cNvPr>
          <p:cNvSpPr txBox="1"/>
          <p:nvPr/>
        </p:nvSpPr>
        <p:spPr>
          <a:xfrm>
            <a:off x="4939325" y="4001139"/>
            <a:ext cx="3457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me efficient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vanced featur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ternal support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21FF1AB0-197A-36F5-83B8-14F8D99A1854}"/>
              </a:ext>
            </a:extLst>
          </p:cNvPr>
          <p:cNvSpPr txBox="1"/>
          <p:nvPr/>
        </p:nvSpPr>
        <p:spPr>
          <a:xfrm>
            <a:off x="8883765" y="4027766"/>
            <a:ext cx="30808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mization to own need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ll automatic integr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lete control</a:t>
            </a:r>
          </a:p>
        </p:txBody>
      </p:sp>
    </p:spTree>
    <p:extLst>
      <p:ext uri="{BB962C8B-B14F-4D97-AF65-F5344CB8AC3E}">
        <p14:creationId xmlns:p14="http://schemas.microsoft.com/office/powerpoint/2010/main" val="390888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9CE03-DC3D-FDA7-D1D9-A06BC0BE1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135A1EE-98B4-66E1-1AF1-406CBA7846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777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35A1EE-98B4-66E1-1AF1-406CBA784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FF81B0F7-1175-62C5-8769-C4EA93C701DA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5F2EA4-60F9-656B-4708-FA42236567C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79C2F64-FAE3-0A97-3F66-7057DA2996EC}"/>
              </a:ext>
            </a:extLst>
          </p:cNvPr>
          <p:cNvSpPr/>
          <p:nvPr/>
        </p:nvSpPr>
        <p:spPr>
          <a:xfrm>
            <a:off x="831850" y="685800"/>
            <a:ext cx="10718800" cy="57785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BF46E590-4233-36BB-5570-28675EF5AFCB}"/>
              </a:ext>
            </a:extLst>
          </p:cNvPr>
          <p:cNvSpPr/>
          <p:nvPr/>
        </p:nvSpPr>
        <p:spPr>
          <a:xfrm>
            <a:off x="1054100" y="2425969"/>
            <a:ext cx="10306049" cy="2323281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7" name="Rechteck: abgerundete Ecken 186">
            <a:extLst>
              <a:ext uri="{FF2B5EF4-FFF2-40B4-BE49-F238E27FC236}">
                <a16:creationId xmlns:a16="http://schemas.microsoft.com/office/drawing/2014/main" id="{AA10C3A9-6A71-0A7A-B842-A51ED2E6F14F}"/>
              </a:ext>
            </a:extLst>
          </p:cNvPr>
          <p:cNvSpPr/>
          <p:nvPr/>
        </p:nvSpPr>
        <p:spPr>
          <a:xfrm>
            <a:off x="927100" y="500062"/>
            <a:ext cx="3041650" cy="38417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 / DCM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D7114837-0857-9A71-6392-3D4BCAC9F545}"/>
              </a:ext>
            </a:extLst>
          </p:cNvPr>
          <p:cNvSpPr/>
          <p:nvPr/>
        </p:nvSpPr>
        <p:spPr>
          <a:xfrm>
            <a:off x="2409473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30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6EA87695-4AE3-BDB2-581E-3A1E86DB7AC5}"/>
              </a:ext>
            </a:extLst>
          </p:cNvPr>
          <p:cNvSpPr/>
          <p:nvPr/>
        </p:nvSpPr>
        <p:spPr>
          <a:xfrm>
            <a:off x="3864467" y="4930507"/>
            <a:ext cx="1401202" cy="15156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CM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| Week 29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0615E6B7-B52C-6116-ED2E-9C3566688200}"/>
              </a:ext>
            </a:extLst>
          </p:cNvPr>
          <p:cNvSpPr/>
          <p:nvPr/>
        </p:nvSpPr>
        <p:spPr>
          <a:xfrm>
            <a:off x="535176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8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2C1021C3-AB61-3D2D-84F0-6120F4547DF3}"/>
              </a:ext>
            </a:extLst>
          </p:cNvPr>
          <p:cNvSpPr/>
          <p:nvPr/>
        </p:nvSpPr>
        <p:spPr>
          <a:xfrm>
            <a:off x="6845407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7</a:t>
            </a: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151D60ED-43DC-A476-7A00-26A10A965762}"/>
              </a:ext>
            </a:extLst>
          </p:cNvPr>
          <p:cNvSpPr/>
          <p:nvPr/>
        </p:nvSpPr>
        <p:spPr>
          <a:xfrm>
            <a:off x="8332702" y="4930507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6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D0E17F02-41F3-BEB9-9399-8CBA907235FB}"/>
              </a:ext>
            </a:extLst>
          </p:cNvPr>
          <p:cNvSpPr/>
          <p:nvPr/>
        </p:nvSpPr>
        <p:spPr>
          <a:xfrm>
            <a:off x="9819997" y="4935268"/>
            <a:ext cx="1401202" cy="15156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| Week 25</a:t>
            </a:r>
          </a:p>
        </p:txBody>
      </p:sp>
      <p:graphicFrame>
        <p:nvGraphicFramePr>
          <p:cNvPr id="194" name="Tabelle 193">
            <a:extLst>
              <a:ext uri="{FF2B5EF4-FFF2-40B4-BE49-F238E27FC236}">
                <a16:creationId xmlns:a16="http://schemas.microsoft.com/office/drawing/2014/main" id="{0CCCAE27-0035-8101-5909-524A4C7E2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8358148"/>
              </p:ext>
            </p:extLst>
          </p:nvPr>
        </p:nvGraphicFramePr>
        <p:xfrm>
          <a:off x="684540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3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0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5" name="Tabelle 194">
            <a:extLst>
              <a:ext uri="{FF2B5EF4-FFF2-40B4-BE49-F238E27FC236}">
                <a16:creationId xmlns:a16="http://schemas.microsoft.com/office/drawing/2014/main" id="{23A30C64-60DB-D02A-93F3-6A81B502D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4651219"/>
              </p:ext>
            </p:extLst>
          </p:nvPr>
        </p:nvGraphicFramePr>
        <p:xfrm>
          <a:off x="535176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219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2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11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82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2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6" name="Tabelle 195">
            <a:extLst>
              <a:ext uri="{FF2B5EF4-FFF2-40B4-BE49-F238E27FC236}">
                <a16:creationId xmlns:a16="http://schemas.microsoft.com/office/drawing/2014/main" id="{D1E7BEFB-C6FA-8045-5870-F049E6686F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485550"/>
              </p:ext>
            </p:extLst>
          </p:nvPr>
        </p:nvGraphicFramePr>
        <p:xfrm>
          <a:off x="8332702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4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7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384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1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7" name="Tabelle 196">
            <a:extLst>
              <a:ext uri="{FF2B5EF4-FFF2-40B4-BE49-F238E27FC236}">
                <a16:creationId xmlns:a16="http://schemas.microsoft.com/office/drawing/2014/main" id="{7262CF2D-796C-6F1E-471C-52DC5A30D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2173913"/>
              </p:ext>
            </p:extLst>
          </p:nvPr>
        </p:nvGraphicFramePr>
        <p:xfrm>
          <a:off x="9819997" y="5107093"/>
          <a:ext cx="1414860" cy="11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6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3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5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9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2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616691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19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84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0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313740"/>
                  </a:ext>
                </a:extLst>
              </a:tr>
              <a:tr h="1127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25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9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13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>
                          <a:solidFill>
                            <a:schemeClr val="bg1"/>
                          </a:solidFill>
                          <a:effectLst/>
                        </a:rPr>
                        <a:t>4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8" name="Tabelle 197">
            <a:extLst>
              <a:ext uri="{FF2B5EF4-FFF2-40B4-BE49-F238E27FC236}">
                <a16:creationId xmlns:a16="http://schemas.microsoft.com/office/drawing/2014/main" id="{A732F7C4-8516-B7CC-6A36-39F3F2A843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180109"/>
              </p:ext>
            </p:extLst>
          </p:nvPr>
        </p:nvGraphicFramePr>
        <p:xfrm>
          <a:off x="3877552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3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8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graphicFrame>
        <p:nvGraphicFramePr>
          <p:cNvPr id="199" name="Tabelle 198">
            <a:extLst>
              <a:ext uri="{FF2B5EF4-FFF2-40B4-BE49-F238E27FC236}">
                <a16:creationId xmlns:a16="http://schemas.microsoft.com/office/drawing/2014/main" id="{CDB87E3E-C6D8-FD4C-B9EF-ED676D037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2431611"/>
              </p:ext>
            </p:extLst>
          </p:nvPr>
        </p:nvGraphicFramePr>
        <p:xfrm>
          <a:off x="2402644" y="5106318"/>
          <a:ext cx="1414860" cy="11829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660">
                  <a:extLst>
                    <a:ext uri="{9D8B030D-6E8A-4147-A177-3AD203B41FA5}">
                      <a16:colId xmlns:a16="http://schemas.microsoft.com/office/drawing/2014/main" val="651400174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205067946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584454265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632580448"/>
                    </a:ext>
                  </a:extLst>
                </a:gridCol>
                <a:gridCol w="199660">
                  <a:extLst>
                    <a:ext uri="{9D8B030D-6E8A-4147-A177-3AD203B41FA5}">
                      <a16:colId xmlns:a16="http://schemas.microsoft.com/office/drawing/2014/main" val="309327967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4007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01343969"/>
                    </a:ext>
                  </a:extLst>
                </a:gridCol>
              </a:tblGrid>
              <a:tr h="171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Mon</a:t>
                      </a:r>
                      <a:endParaRPr lang="de-DE" sz="12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ue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Wed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Thu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 err="1"/>
                        <a:t>Fri</a:t>
                      </a:r>
                      <a:endParaRPr lang="de-DE" sz="600" dirty="0"/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at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/>
                      <a:r>
                        <a:rPr lang="de-DE" sz="600" dirty="0"/>
                        <a:t>Sun</a:t>
                      </a:r>
                    </a:p>
                  </a:txBody>
                  <a:tcPr marL="0" marR="0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71092"/>
                  </a:ext>
                </a:extLst>
              </a:tr>
              <a:tr h="758945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40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177434455"/>
                  </a:ext>
                </a:extLst>
              </a:tr>
              <a:tr h="25298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pPr algn="ctr" latinLnBrk="1"/>
                      <a:r>
                        <a:rPr lang="de-DE" sz="700" dirty="0">
                          <a:solidFill>
                            <a:schemeClr val="bg1"/>
                          </a:solidFill>
                          <a:effectLst/>
                        </a:rPr>
                        <a:t>6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36000" marB="36000" anchor="ctr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3542965954"/>
                  </a:ext>
                </a:extLst>
              </a:tr>
            </a:tbl>
          </a:graphicData>
        </a:graphic>
      </p:graphicFrame>
      <p:sp>
        <p:nvSpPr>
          <p:cNvPr id="200" name="Textfeld 199">
            <a:extLst>
              <a:ext uri="{FF2B5EF4-FFF2-40B4-BE49-F238E27FC236}">
                <a16:creationId xmlns:a16="http://schemas.microsoft.com/office/drawing/2014/main" id="{564A3A01-7CC3-2444-E6AA-BC1816B717AA}"/>
              </a:ext>
            </a:extLst>
          </p:cNvPr>
          <p:cNvSpPr txBox="1"/>
          <p:nvPr/>
        </p:nvSpPr>
        <p:spPr>
          <a:xfrm>
            <a:off x="1382413" y="5250720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1</a:t>
            </a:r>
          </a:p>
        </p:txBody>
      </p:sp>
      <p:sp>
        <p:nvSpPr>
          <p:cNvPr id="201" name="Textfeld 200">
            <a:extLst>
              <a:ext uri="{FF2B5EF4-FFF2-40B4-BE49-F238E27FC236}">
                <a16:creationId xmlns:a16="http://schemas.microsoft.com/office/drawing/2014/main" id="{437FDF87-B615-7BC4-A1CE-A478EE7FBCE2}"/>
              </a:ext>
            </a:extLst>
          </p:cNvPr>
          <p:cNvSpPr txBox="1"/>
          <p:nvPr/>
        </p:nvSpPr>
        <p:spPr>
          <a:xfrm>
            <a:off x="1370120" y="5524493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2</a:t>
            </a: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0B4B9B7C-8F15-87AE-B651-5A38B589B327}"/>
              </a:ext>
            </a:extLst>
          </p:cNvPr>
          <p:cNvSpPr txBox="1"/>
          <p:nvPr/>
        </p:nvSpPr>
        <p:spPr>
          <a:xfrm>
            <a:off x="1372773" y="577562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3</a:t>
            </a:r>
          </a:p>
        </p:txBody>
      </p:sp>
      <p:sp>
        <p:nvSpPr>
          <p:cNvPr id="203" name="Textfeld 202">
            <a:extLst>
              <a:ext uri="{FF2B5EF4-FFF2-40B4-BE49-F238E27FC236}">
                <a16:creationId xmlns:a16="http://schemas.microsoft.com/office/drawing/2014/main" id="{91A294E2-78DF-4049-AAF6-7BAC364D355F}"/>
              </a:ext>
            </a:extLst>
          </p:cNvPr>
          <p:cNvSpPr txBox="1"/>
          <p:nvPr/>
        </p:nvSpPr>
        <p:spPr>
          <a:xfrm>
            <a:off x="1370120" y="6037237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chemeClr val="bg1"/>
                </a:solidFill>
                <a:latin typeface="Aptos" panose="02110004020202020204"/>
              </a:rPr>
              <a:t>Part Variant #4</a:t>
            </a:r>
          </a:p>
        </p:txBody>
      </p:sp>
      <p:pic>
        <p:nvPicPr>
          <p:cNvPr id="204" name="Grafik 203" descr="Cmd (Terminal) Silhouette">
            <a:extLst>
              <a:ext uri="{FF2B5EF4-FFF2-40B4-BE49-F238E27FC236}">
                <a16:creationId xmlns:a16="http://schemas.microsoft.com/office/drawing/2014/main" id="{052ACE94-DE1B-98FF-D8C3-21B57498D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76322" y="5251100"/>
            <a:ext cx="267311" cy="267311"/>
          </a:xfrm>
          <a:prstGeom prst="rect">
            <a:avLst/>
          </a:prstGeom>
        </p:spPr>
      </p:pic>
      <p:pic>
        <p:nvPicPr>
          <p:cNvPr id="205" name="Grafik 204" descr="Cmd (Terminal) Silhouette">
            <a:extLst>
              <a:ext uri="{FF2B5EF4-FFF2-40B4-BE49-F238E27FC236}">
                <a16:creationId xmlns:a16="http://schemas.microsoft.com/office/drawing/2014/main" id="{6C8C13A6-7A94-C6B8-24F4-15E7C88ABE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73669" y="5504099"/>
            <a:ext cx="267311" cy="267311"/>
          </a:xfrm>
          <a:prstGeom prst="rect">
            <a:avLst/>
          </a:prstGeom>
        </p:spPr>
      </p:pic>
      <p:pic>
        <p:nvPicPr>
          <p:cNvPr id="206" name="Grafik 205" descr="Cmd (Terminal) Silhouette">
            <a:extLst>
              <a:ext uri="{FF2B5EF4-FFF2-40B4-BE49-F238E27FC236}">
                <a16:creationId xmlns:a16="http://schemas.microsoft.com/office/drawing/2014/main" id="{84BE1112-41B2-0514-D270-1373D6428C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0557" y="5769347"/>
            <a:ext cx="267311" cy="267311"/>
          </a:xfrm>
          <a:prstGeom prst="rect">
            <a:avLst/>
          </a:prstGeom>
        </p:spPr>
      </p:pic>
      <p:pic>
        <p:nvPicPr>
          <p:cNvPr id="207" name="Grafik 206" descr="Cmd (Terminal) Silhouette">
            <a:extLst>
              <a:ext uri="{FF2B5EF4-FFF2-40B4-BE49-F238E27FC236}">
                <a16:creationId xmlns:a16="http://schemas.microsoft.com/office/drawing/2014/main" id="{923438FE-9F81-928B-D0D7-C4BDCAC33C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70556" y="6031536"/>
            <a:ext cx="267311" cy="267311"/>
          </a:xfrm>
          <a:prstGeom prst="rect">
            <a:avLst/>
          </a:prstGeom>
        </p:spPr>
      </p:pic>
      <p:graphicFrame>
        <p:nvGraphicFramePr>
          <p:cNvPr id="208" name="Tabelle 207">
            <a:extLst>
              <a:ext uri="{FF2B5EF4-FFF2-40B4-BE49-F238E27FC236}">
                <a16:creationId xmlns:a16="http://schemas.microsoft.com/office/drawing/2014/main" id="{ACC4DBF0-8DD6-8279-3716-6CF02F914E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6089128"/>
              </p:ext>
            </p:extLst>
          </p:nvPr>
        </p:nvGraphicFramePr>
        <p:xfrm>
          <a:off x="971551" y="990258"/>
          <a:ext cx="10388598" cy="1226820"/>
        </p:xfrm>
        <a:graphic>
          <a:graphicData uri="http://schemas.openxmlformats.org/drawingml/2006/table">
            <a:tbl>
              <a:tblPr firstRow="1" bandRow="1"/>
              <a:tblGrid>
                <a:gridCol w="1484086">
                  <a:extLst>
                    <a:ext uri="{9D8B030D-6E8A-4147-A177-3AD203B41FA5}">
                      <a16:colId xmlns:a16="http://schemas.microsoft.com/office/drawing/2014/main" val="1287254635"/>
                    </a:ext>
                  </a:extLst>
                </a:gridCol>
                <a:gridCol w="895706">
                  <a:extLst>
                    <a:ext uri="{9D8B030D-6E8A-4147-A177-3AD203B41FA5}">
                      <a16:colId xmlns:a16="http://schemas.microsoft.com/office/drawing/2014/main" val="1640687407"/>
                    </a:ext>
                  </a:extLst>
                </a:gridCol>
                <a:gridCol w="2072464">
                  <a:extLst>
                    <a:ext uri="{9D8B030D-6E8A-4147-A177-3AD203B41FA5}">
                      <a16:colId xmlns:a16="http://schemas.microsoft.com/office/drawing/2014/main" val="2394064083"/>
                    </a:ext>
                  </a:extLst>
                </a:gridCol>
                <a:gridCol w="1148443">
                  <a:extLst>
                    <a:ext uri="{9D8B030D-6E8A-4147-A177-3AD203B41FA5}">
                      <a16:colId xmlns:a16="http://schemas.microsoft.com/office/drawing/2014/main" val="491017583"/>
                    </a:ext>
                  </a:extLst>
                </a:gridCol>
                <a:gridCol w="1324981">
                  <a:extLst>
                    <a:ext uri="{9D8B030D-6E8A-4147-A177-3AD203B41FA5}">
                      <a16:colId xmlns:a16="http://schemas.microsoft.com/office/drawing/2014/main" val="2861368846"/>
                    </a:ext>
                  </a:extLst>
                </a:gridCol>
                <a:gridCol w="1978832">
                  <a:extLst>
                    <a:ext uri="{9D8B030D-6E8A-4147-A177-3AD203B41FA5}">
                      <a16:colId xmlns:a16="http://schemas.microsoft.com/office/drawing/2014/main" val="1988377925"/>
                    </a:ext>
                  </a:extLst>
                </a:gridCol>
                <a:gridCol w="1484086">
                  <a:extLst>
                    <a:ext uri="{9D8B030D-6E8A-4147-A177-3AD203B41FA5}">
                      <a16:colId xmlns:a16="http://schemas.microsoft.com/office/drawing/2014/main" val="3827680255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800" dirty="0"/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CM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2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2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PURI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>
                          <a:solidFill>
                            <a:schemeClr val="accent1"/>
                          </a:solidFill>
                        </a:rPr>
                        <a:t>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50" dirty="0" err="1">
                          <a:solidFill>
                            <a:schemeClr val="accent1"/>
                          </a:solidFill>
                        </a:rPr>
                        <a:t>Timeframe</a:t>
                      </a:r>
                      <a:endParaRPr lang="de-DE" sz="10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963017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in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Material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343993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Supplier </a:t>
                      </a:r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outbound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apacity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Materialpart, Materialgrou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Week]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laned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Production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0352689"/>
                  </a:ext>
                </a:extLst>
              </a:tr>
              <a:tr h="174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Item Stock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No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Supplier &amp;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Costumer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artnr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Day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9756514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b="1" dirty="0" err="1">
                          <a:solidFill>
                            <a:schemeClr val="bg1"/>
                          </a:solidFill>
                        </a:rPr>
                        <a:t>Delivery</a:t>
                      </a: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 Info</a:t>
                      </a: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No</a:t>
                      </a:r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Ye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All relevant Inform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[Hour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3197656"/>
                  </a:ext>
                </a:extLst>
              </a:tr>
            </a:tbl>
          </a:graphicData>
        </a:graphic>
      </p:graphicFrame>
      <p:pic>
        <p:nvPicPr>
          <p:cNvPr id="209" name="Grafik 208" descr="Fabrik Silhouette">
            <a:extLst>
              <a:ext uri="{FF2B5EF4-FFF2-40B4-BE49-F238E27FC236}">
                <a16:creationId xmlns:a16="http://schemas.microsoft.com/office/drawing/2014/main" id="{14187482-38E4-8F81-F8F1-3239F3899CC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26015" y="3848041"/>
            <a:ext cx="589738" cy="589738"/>
          </a:xfrm>
          <a:prstGeom prst="rect">
            <a:avLst/>
          </a:prstGeom>
        </p:spPr>
      </p:pic>
      <p:grpSp>
        <p:nvGrpSpPr>
          <p:cNvPr id="210" name="Gruppieren 209">
            <a:extLst>
              <a:ext uri="{FF2B5EF4-FFF2-40B4-BE49-F238E27FC236}">
                <a16:creationId xmlns:a16="http://schemas.microsoft.com/office/drawing/2014/main" id="{E8FA65A4-A2BC-0BA5-4927-377C385BD28F}"/>
              </a:ext>
            </a:extLst>
          </p:cNvPr>
          <p:cNvGrpSpPr/>
          <p:nvPr/>
        </p:nvGrpSpPr>
        <p:grpSpPr>
          <a:xfrm>
            <a:off x="2588116" y="4105750"/>
            <a:ext cx="578836" cy="260273"/>
            <a:chOff x="3027964" y="3186817"/>
            <a:chExt cx="886344" cy="398544"/>
          </a:xfrm>
        </p:grpSpPr>
        <p:grpSp>
          <p:nvGrpSpPr>
            <p:cNvPr id="211" name="Gruppieren 210">
              <a:extLst>
                <a:ext uri="{FF2B5EF4-FFF2-40B4-BE49-F238E27FC236}">
                  <a16:creationId xmlns:a16="http://schemas.microsoft.com/office/drawing/2014/main" id="{D5C07409-E6AF-ACCD-C322-DC82406E6779}"/>
                </a:ext>
              </a:extLst>
            </p:cNvPr>
            <p:cNvGrpSpPr/>
            <p:nvPr/>
          </p:nvGrpSpPr>
          <p:grpSpPr>
            <a:xfrm>
              <a:off x="3794324" y="3401736"/>
              <a:ext cx="119984" cy="163897"/>
              <a:chOff x="9986041" y="1674428"/>
              <a:chExt cx="188780" cy="232747"/>
            </a:xfrm>
          </p:grpSpPr>
          <p:sp>
            <p:nvSpPr>
              <p:cNvPr id="257" name="Rechteck 256">
                <a:extLst>
                  <a:ext uri="{FF2B5EF4-FFF2-40B4-BE49-F238E27FC236}">
                    <a16:creationId xmlns:a16="http://schemas.microsoft.com/office/drawing/2014/main" id="{01250384-40DD-9588-79B3-114B8E1CB6BE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8" name="Rechteck 257">
                <a:extLst>
                  <a:ext uri="{FF2B5EF4-FFF2-40B4-BE49-F238E27FC236}">
                    <a16:creationId xmlns:a16="http://schemas.microsoft.com/office/drawing/2014/main" id="{7D1A0DC5-406C-B115-F64D-B6231A7FF96B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9" name="Rechteck 258">
                <a:extLst>
                  <a:ext uri="{FF2B5EF4-FFF2-40B4-BE49-F238E27FC236}">
                    <a16:creationId xmlns:a16="http://schemas.microsoft.com/office/drawing/2014/main" id="{26796C81-C201-2DED-E56E-02976D0F189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60" name="Gerader Verbinder 259">
                <a:extLst>
                  <a:ext uri="{FF2B5EF4-FFF2-40B4-BE49-F238E27FC236}">
                    <a16:creationId xmlns:a16="http://schemas.microsoft.com/office/drawing/2014/main" id="{E2D489BA-C768-387B-7545-962FA7AB652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2" name="Gruppieren 211">
              <a:extLst>
                <a:ext uri="{FF2B5EF4-FFF2-40B4-BE49-F238E27FC236}">
                  <a16:creationId xmlns:a16="http://schemas.microsoft.com/office/drawing/2014/main" id="{C63DEECE-12DF-5DFF-21D2-ECD984942B63}"/>
                </a:ext>
              </a:extLst>
            </p:cNvPr>
            <p:cNvGrpSpPr/>
            <p:nvPr/>
          </p:nvGrpSpPr>
          <p:grpSpPr>
            <a:xfrm>
              <a:off x="3794324" y="3195160"/>
              <a:ext cx="119984" cy="163897"/>
              <a:chOff x="9986041" y="1674428"/>
              <a:chExt cx="188780" cy="232747"/>
            </a:xfrm>
          </p:grpSpPr>
          <p:sp>
            <p:nvSpPr>
              <p:cNvPr id="253" name="Rechteck 252">
                <a:extLst>
                  <a:ext uri="{FF2B5EF4-FFF2-40B4-BE49-F238E27FC236}">
                    <a16:creationId xmlns:a16="http://schemas.microsoft.com/office/drawing/2014/main" id="{60491FE0-5DD8-2E49-2B78-2ED77F90911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4" name="Rechteck 253">
                <a:extLst>
                  <a:ext uri="{FF2B5EF4-FFF2-40B4-BE49-F238E27FC236}">
                    <a16:creationId xmlns:a16="http://schemas.microsoft.com/office/drawing/2014/main" id="{625AFBE1-5127-EBEE-2514-E1139D417B0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5" name="Rechteck 254">
                <a:extLst>
                  <a:ext uri="{FF2B5EF4-FFF2-40B4-BE49-F238E27FC236}">
                    <a16:creationId xmlns:a16="http://schemas.microsoft.com/office/drawing/2014/main" id="{444C519D-2CF6-AEED-F64F-B7F4F946E71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6" name="Gerader Verbinder 255">
                <a:extLst>
                  <a:ext uri="{FF2B5EF4-FFF2-40B4-BE49-F238E27FC236}">
                    <a16:creationId xmlns:a16="http://schemas.microsoft.com/office/drawing/2014/main" id="{835853E4-25BA-1140-8685-72FBFF70C2D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3" name="Gruppieren 212">
              <a:extLst>
                <a:ext uri="{FF2B5EF4-FFF2-40B4-BE49-F238E27FC236}">
                  <a16:creationId xmlns:a16="http://schemas.microsoft.com/office/drawing/2014/main" id="{BCE8E963-7F9B-B660-B561-263F3A7F608E}"/>
                </a:ext>
              </a:extLst>
            </p:cNvPr>
            <p:cNvGrpSpPr/>
            <p:nvPr/>
          </p:nvGrpSpPr>
          <p:grpSpPr>
            <a:xfrm>
              <a:off x="3604223" y="3196880"/>
              <a:ext cx="119984" cy="163897"/>
              <a:chOff x="9986041" y="1674428"/>
              <a:chExt cx="188780" cy="232747"/>
            </a:xfrm>
          </p:grpSpPr>
          <p:sp>
            <p:nvSpPr>
              <p:cNvPr id="249" name="Rechteck 248">
                <a:extLst>
                  <a:ext uri="{FF2B5EF4-FFF2-40B4-BE49-F238E27FC236}">
                    <a16:creationId xmlns:a16="http://schemas.microsoft.com/office/drawing/2014/main" id="{D3909439-8B55-346B-A439-FB48E839FB2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0" name="Rechteck 249">
                <a:extLst>
                  <a:ext uri="{FF2B5EF4-FFF2-40B4-BE49-F238E27FC236}">
                    <a16:creationId xmlns:a16="http://schemas.microsoft.com/office/drawing/2014/main" id="{0C5507C1-E08D-4CF0-ADE8-53C9368863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51" name="Rechteck 250">
                <a:extLst>
                  <a:ext uri="{FF2B5EF4-FFF2-40B4-BE49-F238E27FC236}">
                    <a16:creationId xmlns:a16="http://schemas.microsoft.com/office/drawing/2014/main" id="{FF64D849-D156-33FC-2252-9403FF53B66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52" name="Gerader Verbinder 251">
                <a:extLst>
                  <a:ext uri="{FF2B5EF4-FFF2-40B4-BE49-F238E27FC236}">
                    <a16:creationId xmlns:a16="http://schemas.microsoft.com/office/drawing/2014/main" id="{9E61582B-26FE-BE8D-F0A4-DF3EDC3966C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4" name="Gruppieren 213">
              <a:extLst>
                <a:ext uri="{FF2B5EF4-FFF2-40B4-BE49-F238E27FC236}">
                  <a16:creationId xmlns:a16="http://schemas.microsoft.com/office/drawing/2014/main" id="{BD9997C2-515A-F0BE-9E2E-BF1B24E4264B}"/>
                </a:ext>
              </a:extLst>
            </p:cNvPr>
            <p:cNvGrpSpPr/>
            <p:nvPr/>
          </p:nvGrpSpPr>
          <p:grpSpPr>
            <a:xfrm>
              <a:off x="3603155" y="3408811"/>
              <a:ext cx="119984" cy="163897"/>
              <a:chOff x="9986041" y="1674428"/>
              <a:chExt cx="188780" cy="232747"/>
            </a:xfrm>
          </p:grpSpPr>
          <p:sp>
            <p:nvSpPr>
              <p:cNvPr id="245" name="Rechteck 244">
                <a:extLst>
                  <a:ext uri="{FF2B5EF4-FFF2-40B4-BE49-F238E27FC236}">
                    <a16:creationId xmlns:a16="http://schemas.microsoft.com/office/drawing/2014/main" id="{CFC1EE3F-2639-E651-575C-BFC0B38A361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6" name="Rechteck 245">
                <a:extLst>
                  <a:ext uri="{FF2B5EF4-FFF2-40B4-BE49-F238E27FC236}">
                    <a16:creationId xmlns:a16="http://schemas.microsoft.com/office/drawing/2014/main" id="{A8B7FDAE-E768-0B9C-51BE-29865B9569D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7" name="Rechteck 246">
                <a:extLst>
                  <a:ext uri="{FF2B5EF4-FFF2-40B4-BE49-F238E27FC236}">
                    <a16:creationId xmlns:a16="http://schemas.microsoft.com/office/drawing/2014/main" id="{12612241-D546-A8B8-0B57-81867073BBB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8" name="Gerader Verbinder 247">
                <a:extLst>
                  <a:ext uri="{FF2B5EF4-FFF2-40B4-BE49-F238E27FC236}">
                    <a16:creationId xmlns:a16="http://schemas.microsoft.com/office/drawing/2014/main" id="{A78CEC52-3F51-C8EE-EE81-E7F83715F09B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5" name="Gruppieren 214">
              <a:extLst>
                <a:ext uri="{FF2B5EF4-FFF2-40B4-BE49-F238E27FC236}">
                  <a16:creationId xmlns:a16="http://schemas.microsoft.com/office/drawing/2014/main" id="{B7FD9926-850F-66F9-8C8D-38343B87527E}"/>
                </a:ext>
              </a:extLst>
            </p:cNvPr>
            <p:cNvGrpSpPr/>
            <p:nvPr/>
          </p:nvGrpSpPr>
          <p:grpSpPr>
            <a:xfrm>
              <a:off x="3213478" y="3408589"/>
              <a:ext cx="119984" cy="163897"/>
              <a:chOff x="9986041" y="1674428"/>
              <a:chExt cx="188780" cy="232747"/>
            </a:xfrm>
          </p:grpSpPr>
          <p:sp>
            <p:nvSpPr>
              <p:cNvPr id="241" name="Rechteck 240">
                <a:extLst>
                  <a:ext uri="{FF2B5EF4-FFF2-40B4-BE49-F238E27FC236}">
                    <a16:creationId xmlns:a16="http://schemas.microsoft.com/office/drawing/2014/main" id="{2E261713-70C1-B4BF-6A8D-BA32F428AEE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DC6B0F40-DFD0-F702-D4C2-D8A8EA662F3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43" name="Rechteck 242">
                <a:extLst>
                  <a:ext uri="{FF2B5EF4-FFF2-40B4-BE49-F238E27FC236}">
                    <a16:creationId xmlns:a16="http://schemas.microsoft.com/office/drawing/2014/main" id="{0A520E5F-8BFE-FFD4-A306-763CB3737C2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4" name="Gerader Verbinder 243">
                <a:extLst>
                  <a:ext uri="{FF2B5EF4-FFF2-40B4-BE49-F238E27FC236}">
                    <a16:creationId xmlns:a16="http://schemas.microsoft.com/office/drawing/2014/main" id="{992785BC-2419-4F30-23C6-D1282E0ABD9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6" name="Gruppieren 215">
              <a:extLst>
                <a:ext uri="{FF2B5EF4-FFF2-40B4-BE49-F238E27FC236}">
                  <a16:creationId xmlns:a16="http://schemas.microsoft.com/office/drawing/2014/main" id="{8375139F-D6C4-441D-6BF8-F5F25A9CFA0A}"/>
                </a:ext>
              </a:extLst>
            </p:cNvPr>
            <p:cNvGrpSpPr/>
            <p:nvPr/>
          </p:nvGrpSpPr>
          <p:grpSpPr>
            <a:xfrm>
              <a:off x="3221850" y="3186817"/>
              <a:ext cx="119984" cy="163897"/>
              <a:chOff x="9986041" y="1674428"/>
              <a:chExt cx="188780" cy="232747"/>
            </a:xfrm>
          </p:grpSpPr>
          <p:sp>
            <p:nvSpPr>
              <p:cNvPr id="237" name="Rechteck 236">
                <a:extLst>
                  <a:ext uri="{FF2B5EF4-FFF2-40B4-BE49-F238E27FC236}">
                    <a16:creationId xmlns:a16="http://schemas.microsoft.com/office/drawing/2014/main" id="{AF00C582-6AFC-BCAF-7127-DA7344C3EA7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8" name="Rechteck 237">
                <a:extLst>
                  <a:ext uri="{FF2B5EF4-FFF2-40B4-BE49-F238E27FC236}">
                    <a16:creationId xmlns:a16="http://schemas.microsoft.com/office/drawing/2014/main" id="{E24EFE15-C376-CFFC-DD57-4F8B1103FE7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9" name="Rechteck 238">
                <a:extLst>
                  <a:ext uri="{FF2B5EF4-FFF2-40B4-BE49-F238E27FC236}">
                    <a16:creationId xmlns:a16="http://schemas.microsoft.com/office/drawing/2014/main" id="{4CAC6E1C-640E-C5AB-9C1B-3DDC4AA0651A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40" name="Gerader Verbinder 239">
                <a:extLst>
                  <a:ext uri="{FF2B5EF4-FFF2-40B4-BE49-F238E27FC236}">
                    <a16:creationId xmlns:a16="http://schemas.microsoft.com/office/drawing/2014/main" id="{42FA4FC3-360A-3FB6-BF5B-B0976AB3189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7" name="Gruppieren 216">
              <a:extLst>
                <a:ext uri="{FF2B5EF4-FFF2-40B4-BE49-F238E27FC236}">
                  <a16:creationId xmlns:a16="http://schemas.microsoft.com/office/drawing/2014/main" id="{C2A4C17F-F00A-5021-EBA9-C8489081F922}"/>
                </a:ext>
              </a:extLst>
            </p:cNvPr>
            <p:cNvGrpSpPr/>
            <p:nvPr/>
          </p:nvGrpSpPr>
          <p:grpSpPr>
            <a:xfrm>
              <a:off x="3413654" y="3189220"/>
              <a:ext cx="119984" cy="163897"/>
              <a:chOff x="9986041" y="1674428"/>
              <a:chExt cx="188780" cy="232747"/>
            </a:xfrm>
          </p:grpSpPr>
          <p:sp>
            <p:nvSpPr>
              <p:cNvPr id="233" name="Rechteck 232">
                <a:extLst>
                  <a:ext uri="{FF2B5EF4-FFF2-40B4-BE49-F238E27FC236}">
                    <a16:creationId xmlns:a16="http://schemas.microsoft.com/office/drawing/2014/main" id="{01630A32-D48B-37F8-0C89-EEF9234B9D36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4" name="Rechteck 233">
                <a:extLst>
                  <a:ext uri="{FF2B5EF4-FFF2-40B4-BE49-F238E27FC236}">
                    <a16:creationId xmlns:a16="http://schemas.microsoft.com/office/drawing/2014/main" id="{7D3209D5-079F-77B8-840C-820FD48E1A22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5" name="Rechteck 234">
                <a:extLst>
                  <a:ext uri="{FF2B5EF4-FFF2-40B4-BE49-F238E27FC236}">
                    <a16:creationId xmlns:a16="http://schemas.microsoft.com/office/drawing/2014/main" id="{6D497E27-26C0-57BF-4097-19C9EAA945C2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6" name="Gerader Verbinder 235">
                <a:extLst>
                  <a:ext uri="{FF2B5EF4-FFF2-40B4-BE49-F238E27FC236}">
                    <a16:creationId xmlns:a16="http://schemas.microsoft.com/office/drawing/2014/main" id="{CFDAC90D-9CBE-D8DC-03F4-8154A22DE58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8" name="Gruppieren 217">
              <a:extLst>
                <a:ext uri="{FF2B5EF4-FFF2-40B4-BE49-F238E27FC236}">
                  <a16:creationId xmlns:a16="http://schemas.microsoft.com/office/drawing/2014/main" id="{AD9C3575-4C18-97CB-FFAC-84280AED2097}"/>
                </a:ext>
              </a:extLst>
            </p:cNvPr>
            <p:cNvGrpSpPr/>
            <p:nvPr/>
          </p:nvGrpSpPr>
          <p:grpSpPr>
            <a:xfrm>
              <a:off x="3408466" y="3421464"/>
              <a:ext cx="119984" cy="163897"/>
              <a:chOff x="9986041" y="1674428"/>
              <a:chExt cx="188780" cy="232747"/>
            </a:xfrm>
          </p:grpSpPr>
          <p:sp>
            <p:nvSpPr>
              <p:cNvPr id="229" name="Rechteck 228">
                <a:extLst>
                  <a:ext uri="{FF2B5EF4-FFF2-40B4-BE49-F238E27FC236}">
                    <a16:creationId xmlns:a16="http://schemas.microsoft.com/office/drawing/2014/main" id="{D6A61315-C31C-44B2-69C6-866A505E86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4EA72E">
                  <a:lumMod val="75000"/>
                </a:srgb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0" name="Rechteck 229">
                <a:extLst>
                  <a:ext uri="{FF2B5EF4-FFF2-40B4-BE49-F238E27FC236}">
                    <a16:creationId xmlns:a16="http://schemas.microsoft.com/office/drawing/2014/main" id="{7EDA05D9-3ACB-B858-EA56-6AD35817BF6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31" name="Rechteck 230">
                <a:extLst>
                  <a:ext uri="{FF2B5EF4-FFF2-40B4-BE49-F238E27FC236}">
                    <a16:creationId xmlns:a16="http://schemas.microsoft.com/office/drawing/2014/main" id="{029B4F6E-B855-6D1C-583D-0FC329DE8CF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32" name="Gerader Verbinder 231">
                <a:extLst>
                  <a:ext uri="{FF2B5EF4-FFF2-40B4-BE49-F238E27FC236}">
                    <a16:creationId xmlns:a16="http://schemas.microsoft.com/office/drawing/2014/main" id="{5A9EE768-6239-D725-F86C-2EDF8D3B1A3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9" name="Gruppieren 218">
              <a:extLst>
                <a:ext uri="{FF2B5EF4-FFF2-40B4-BE49-F238E27FC236}">
                  <a16:creationId xmlns:a16="http://schemas.microsoft.com/office/drawing/2014/main" id="{6AB0688E-239B-DB55-F77B-49758FF31B67}"/>
                </a:ext>
              </a:extLst>
            </p:cNvPr>
            <p:cNvGrpSpPr/>
            <p:nvPr/>
          </p:nvGrpSpPr>
          <p:grpSpPr>
            <a:xfrm>
              <a:off x="3029832" y="3195160"/>
              <a:ext cx="119984" cy="163897"/>
              <a:chOff x="9986041" y="1674428"/>
              <a:chExt cx="188780" cy="232747"/>
            </a:xfrm>
          </p:grpSpPr>
          <p:sp>
            <p:nvSpPr>
              <p:cNvPr id="225" name="Rechteck 224">
                <a:extLst>
                  <a:ext uri="{FF2B5EF4-FFF2-40B4-BE49-F238E27FC236}">
                    <a16:creationId xmlns:a16="http://schemas.microsoft.com/office/drawing/2014/main" id="{8DBCCB69-EEE3-195E-9EEE-62F9D424045C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ysClr val="window" lastClr="FFFFFF">
                  <a:lumMod val="75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6" name="Rechteck 225">
                <a:extLst>
                  <a:ext uri="{FF2B5EF4-FFF2-40B4-BE49-F238E27FC236}">
                    <a16:creationId xmlns:a16="http://schemas.microsoft.com/office/drawing/2014/main" id="{571466A4-9324-5BCB-5353-3F1A85796C40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7" name="Rechteck 226">
                <a:extLst>
                  <a:ext uri="{FF2B5EF4-FFF2-40B4-BE49-F238E27FC236}">
                    <a16:creationId xmlns:a16="http://schemas.microsoft.com/office/drawing/2014/main" id="{9192795E-A95B-F2DB-CD94-8176E461B9E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8" name="Gerader Verbinder 227">
                <a:extLst>
                  <a:ext uri="{FF2B5EF4-FFF2-40B4-BE49-F238E27FC236}">
                    <a16:creationId xmlns:a16="http://schemas.microsoft.com/office/drawing/2014/main" id="{D00D4824-5394-A581-E876-24660569A68D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E3224223-308C-33BB-273A-6A616EE7BAB4}"/>
                </a:ext>
              </a:extLst>
            </p:cNvPr>
            <p:cNvGrpSpPr/>
            <p:nvPr/>
          </p:nvGrpSpPr>
          <p:grpSpPr>
            <a:xfrm>
              <a:off x="3027964" y="3408589"/>
              <a:ext cx="119984" cy="163897"/>
              <a:chOff x="9986041" y="1674428"/>
              <a:chExt cx="188780" cy="232747"/>
            </a:xfrm>
          </p:grpSpPr>
          <p:sp>
            <p:nvSpPr>
              <p:cNvPr id="221" name="Rechteck 220">
                <a:extLst>
                  <a:ext uri="{FF2B5EF4-FFF2-40B4-BE49-F238E27FC236}">
                    <a16:creationId xmlns:a16="http://schemas.microsoft.com/office/drawing/2014/main" id="{1C56A7A9-9260-D8AC-8F1A-AC7715FC7F59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2" name="Rechteck 221">
                <a:extLst>
                  <a:ext uri="{FF2B5EF4-FFF2-40B4-BE49-F238E27FC236}">
                    <a16:creationId xmlns:a16="http://schemas.microsoft.com/office/drawing/2014/main" id="{216796F1-A3A3-9A8C-2293-4649512E428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23" name="Rechteck 222">
                <a:extLst>
                  <a:ext uri="{FF2B5EF4-FFF2-40B4-BE49-F238E27FC236}">
                    <a16:creationId xmlns:a16="http://schemas.microsoft.com/office/drawing/2014/main" id="{19C284E6-CC09-0C57-7250-D967873C36A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24" name="Gerader Verbinder 223">
                <a:extLst>
                  <a:ext uri="{FF2B5EF4-FFF2-40B4-BE49-F238E27FC236}">
                    <a16:creationId xmlns:a16="http://schemas.microsoft.com/office/drawing/2014/main" id="{A3A89F3D-1962-B7E5-D139-049D1EDC5D6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grpSp>
        <p:nvGrpSpPr>
          <p:cNvPr id="261" name="Gruppieren 260">
            <a:extLst>
              <a:ext uri="{FF2B5EF4-FFF2-40B4-BE49-F238E27FC236}">
                <a16:creationId xmlns:a16="http://schemas.microsoft.com/office/drawing/2014/main" id="{FF57EE94-7A49-D8FC-2C8E-E1A4BEB1BEC3}"/>
              </a:ext>
            </a:extLst>
          </p:cNvPr>
          <p:cNvGrpSpPr/>
          <p:nvPr/>
        </p:nvGrpSpPr>
        <p:grpSpPr>
          <a:xfrm>
            <a:off x="5289919" y="3881865"/>
            <a:ext cx="804323" cy="589738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62" name="Grafik 261" descr="LKW Silhouette">
              <a:extLst>
                <a:ext uri="{FF2B5EF4-FFF2-40B4-BE49-F238E27FC236}">
                  <a16:creationId xmlns:a16="http://schemas.microsoft.com/office/drawing/2014/main" id="{96CE751C-C1B6-957B-7275-0778CA7F2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63" name="Gruppieren 262">
              <a:extLst>
                <a:ext uri="{FF2B5EF4-FFF2-40B4-BE49-F238E27FC236}">
                  <a16:creationId xmlns:a16="http://schemas.microsoft.com/office/drawing/2014/main" id="{88675DEB-209E-B1D3-066B-BEF88D2B14EF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9" name="Rechteck 278">
                <a:extLst>
                  <a:ext uri="{FF2B5EF4-FFF2-40B4-BE49-F238E27FC236}">
                    <a16:creationId xmlns:a16="http://schemas.microsoft.com/office/drawing/2014/main" id="{3FDEC7D9-5E47-A56E-C970-D031F3A3D74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0" name="Rechteck 279">
                <a:extLst>
                  <a:ext uri="{FF2B5EF4-FFF2-40B4-BE49-F238E27FC236}">
                    <a16:creationId xmlns:a16="http://schemas.microsoft.com/office/drawing/2014/main" id="{EDC533ED-96A5-5A0B-193C-9588EE1BC4F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1" name="Rechteck 280">
                <a:extLst>
                  <a:ext uri="{FF2B5EF4-FFF2-40B4-BE49-F238E27FC236}">
                    <a16:creationId xmlns:a16="http://schemas.microsoft.com/office/drawing/2014/main" id="{FE7C1EB8-0AF7-E276-8DDE-A6AEE88132F1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82" name="Gerader Verbinder 281">
                <a:extLst>
                  <a:ext uri="{FF2B5EF4-FFF2-40B4-BE49-F238E27FC236}">
                    <a16:creationId xmlns:a16="http://schemas.microsoft.com/office/drawing/2014/main" id="{9711D90D-1E0E-243C-A478-18405FF9FA01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4" name="Gruppieren 263">
              <a:extLst>
                <a:ext uri="{FF2B5EF4-FFF2-40B4-BE49-F238E27FC236}">
                  <a16:creationId xmlns:a16="http://schemas.microsoft.com/office/drawing/2014/main" id="{24829BE5-6CFE-C464-C920-5153219D3C4D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5" name="Rechteck 274">
                <a:extLst>
                  <a:ext uri="{FF2B5EF4-FFF2-40B4-BE49-F238E27FC236}">
                    <a16:creationId xmlns:a16="http://schemas.microsoft.com/office/drawing/2014/main" id="{2C857F6D-829F-70EF-A1CC-432A2A01B85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6" name="Rechteck 275">
                <a:extLst>
                  <a:ext uri="{FF2B5EF4-FFF2-40B4-BE49-F238E27FC236}">
                    <a16:creationId xmlns:a16="http://schemas.microsoft.com/office/drawing/2014/main" id="{1B6CB6B6-E7C5-5038-9816-AE9C9EF10A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7" name="Rechteck 276">
                <a:extLst>
                  <a:ext uri="{FF2B5EF4-FFF2-40B4-BE49-F238E27FC236}">
                    <a16:creationId xmlns:a16="http://schemas.microsoft.com/office/drawing/2014/main" id="{F7A554DD-EDBD-14A7-86A8-E4D9CB6C7F2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8" name="Gerader Verbinder 277">
                <a:extLst>
                  <a:ext uri="{FF2B5EF4-FFF2-40B4-BE49-F238E27FC236}">
                    <a16:creationId xmlns:a16="http://schemas.microsoft.com/office/drawing/2014/main" id="{A35CE563-C28D-0052-85A2-DEE772BBC3E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5" name="Gruppieren 264">
              <a:extLst>
                <a:ext uri="{FF2B5EF4-FFF2-40B4-BE49-F238E27FC236}">
                  <a16:creationId xmlns:a16="http://schemas.microsoft.com/office/drawing/2014/main" id="{3AACF2EA-2C0B-96C1-7A43-1FF483D914A8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71" name="Rechteck 270">
                <a:extLst>
                  <a:ext uri="{FF2B5EF4-FFF2-40B4-BE49-F238E27FC236}">
                    <a16:creationId xmlns:a16="http://schemas.microsoft.com/office/drawing/2014/main" id="{796D216D-EC70-3D9A-B246-7E03AF50653B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2" name="Rechteck 271">
                <a:extLst>
                  <a:ext uri="{FF2B5EF4-FFF2-40B4-BE49-F238E27FC236}">
                    <a16:creationId xmlns:a16="http://schemas.microsoft.com/office/drawing/2014/main" id="{CAAEE226-4E90-DDBF-E068-8784D9C27BBF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73" name="Rechteck 272">
                <a:extLst>
                  <a:ext uri="{FF2B5EF4-FFF2-40B4-BE49-F238E27FC236}">
                    <a16:creationId xmlns:a16="http://schemas.microsoft.com/office/drawing/2014/main" id="{DC58BE3B-14AF-DB8C-B1F5-B22110A27DF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4" name="Gerader Verbinder 273">
                <a:extLst>
                  <a:ext uri="{FF2B5EF4-FFF2-40B4-BE49-F238E27FC236}">
                    <a16:creationId xmlns:a16="http://schemas.microsoft.com/office/drawing/2014/main" id="{E4281059-CDD9-31CD-29AF-5E51580F32F2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66" name="Gruppieren 265">
              <a:extLst>
                <a:ext uri="{FF2B5EF4-FFF2-40B4-BE49-F238E27FC236}">
                  <a16:creationId xmlns:a16="http://schemas.microsoft.com/office/drawing/2014/main" id="{38E34492-CB9A-E8A0-EC51-D354EBF80782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67" name="Rechteck 266">
                <a:extLst>
                  <a:ext uri="{FF2B5EF4-FFF2-40B4-BE49-F238E27FC236}">
                    <a16:creationId xmlns:a16="http://schemas.microsoft.com/office/drawing/2014/main" id="{87B6D0C2-8962-0FA4-8EF4-5430C5081D7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8" name="Rechteck 267">
                <a:extLst>
                  <a:ext uri="{FF2B5EF4-FFF2-40B4-BE49-F238E27FC236}">
                    <a16:creationId xmlns:a16="http://schemas.microsoft.com/office/drawing/2014/main" id="{824D9577-C6F3-56B0-13A1-48B60030E38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69" name="Rechteck 268">
                <a:extLst>
                  <a:ext uri="{FF2B5EF4-FFF2-40B4-BE49-F238E27FC236}">
                    <a16:creationId xmlns:a16="http://schemas.microsoft.com/office/drawing/2014/main" id="{F10697F8-E01C-B9F0-C7A7-B56B343B7CD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70" name="Gerader Verbinder 269">
                <a:extLst>
                  <a:ext uri="{FF2B5EF4-FFF2-40B4-BE49-F238E27FC236}">
                    <a16:creationId xmlns:a16="http://schemas.microsoft.com/office/drawing/2014/main" id="{C53E7553-2025-8B57-69A8-747AE51D75FC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grpSp>
        <p:nvGrpSpPr>
          <p:cNvPr id="283" name="Gruppieren 282">
            <a:extLst>
              <a:ext uri="{FF2B5EF4-FFF2-40B4-BE49-F238E27FC236}">
                <a16:creationId xmlns:a16="http://schemas.microsoft.com/office/drawing/2014/main" id="{3D0DB1C1-83F1-01F9-F70B-4AF4B51F7C56}"/>
              </a:ext>
            </a:extLst>
          </p:cNvPr>
          <p:cNvGrpSpPr/>
          <p:nvPr/>
        </p:nvGrpSpPr>
        <p:grpSpPr>
          <a:xfrm>
            <a:off x="8393562" y="4060621"/>
            <a:ext cx="254318" cy="318087"/>
            <a:chOff x="7779272" y="3110913"/>
            <a:chExt cx="298452" cy="373288"/>
          </a:xfrm>
        </p:grpSpPr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F9F6229D-94E4-8222-E35B-BE401E319813}"/>
                </a:ext>
              </a:extLst>
            </p:cNvPr>
            <p:cNvGrpSpPr/>
            <p:nvPr/>
          </p:nvGrpSpPr>
          <p:grpSpPr>
            <a:xfrm>
              <a:off x="7779272" y="3111419"/>
              <a:ext cx="119984" cy="163897"/>
              <a:chOff x="9986041" y="1674428"/>
              <a:chExt cx="188780" cy="232747"/>
            </a:xfrm>
          </p:grpSpPr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9E09F6ED-8653-ADA6-420D-0A0DDFEF2220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3630A073-26FB-021A-A562-EE5404482881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2" name="Rechteck 301">
                <a:extLst>
                  <a:ext uri="{FF2B5EF4-FFF2-40B4-BE49-F238E27FC236}">
                    <a16:creationId xmlns:a16="http://schemas.microsoft.com/office/drawing/2014/main" id="{EC33680C-92A1-33C1-DA2B-0B95B8048FBF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3" name="Gerader Verbinder 302">
                <a:extLst>
                  <a:ext uri="{FF2B5EF4-FFF2-40B4-BE49-F238E27FC236}">
                    <a16:creationId xmlns:a16="http://schemas.microsoft.com/office/drawing/2014/main" id="{A54E435F-9D85-88D5-D4FA-36855D1F3E08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8317C3F2-6360-2F7A-A772-795219131335}"/>
                </a:ext>
              </a:extLst>
            </p:cNvPr>
            <p:cNvGrpSpPr/>
            <p:nvPr/>
          </p:nvGrpSpPr>
          <p:grpSpPr>
            <a:xfrm>
              <a:off x="7779272" y="3320304"/>
              <a:ext cx="119984" cy="163897"/>
              <a:chOff x="9986041" y="1674428"/>
              <a:chExt cx="188780" cy="232747"/>
            </a:xfrm>
          </p:grpSpPr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A6FAA19B-8E74-E159-034C-0CDC2E7AE7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FAAA3C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4146D99E-785F-E73E-9BF0-254EC6D52BC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8" name="Rechteck 297">
                <a:extLst>
                  <a:ext uri="{FF2B5EF4-FFF2-40B4-BE49-F238E27FC236}">
                    <a16:creationId xmlns:a16="http://schemas.microsoft.com/office/drawing/2014/main" id="{F29B3AD1-9C76-AA8B-978E-7590F621C0A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9" name="Gerader Verbinder 298">
                <a:extLst>
                  <a:ext uri="{FF2B5EF4-FFF2-40B4-BE49-F238E27FC236}">
                    <a16:creationId xmlns:a16="http://schemas.microsoft.com/office/drawing/2014/main" id="{D7CEC550-AA59-0C1C-0476-D98631E477C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1F3AFC37-03B4-2BBD-B7DA-62550DC673DB}"/>
                </a:ext>
              </a:extLst>
            </p:cNvPr>
            <p:cNvGrpSpPr/>
            <p:nvPr/>
          </p:nvGrpSpPr>
          <p:grpSpPr>
            <a:xfrm>
              <a:off x="7957740" y="3318420"/>
              <a:ext cx="119984" cy="163897"/>
              <a:chOff x="9986041" y="1674428"/>
              <a:chExt cx="188780" cy="232747"/>
            </a:xfrm>
          </p:grpSpPr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2B084644-B235-445D-0C9A-BB56AF3C7743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E97132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0C86ED61-B395-3B33-CAF6-FE27AFE22EE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4" name="Rechteck 293">
                <a:extLst>
                  <a:ext uri="{FF2B5EF4-FFF2-40B4-BE49-F238E27FC236}">
                    <a16:creationId xmlns:a16="http://schemas.microsoft.com/office/drawing/2014/main" id="{A70B0883-BFE8-4A55-F514-53E1DCA2B50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5" name="Gerader Verbinder 294">
                <a:extLst>
                  <a:ext uri="{FF2B5EF4-FFF2-40B4-BE49-F238E27FC236}">
                    <a16:creationId xmlns:a16="http://schemas.microsoft.com/office/drawing/2014/main" id="{D816424C-EE91-71CD-559A-925959A5B8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87" name="Gruppieren 286">
              <a:extLst>
                <a:ext uri="{FF2B5EF4-FFF2-40B4-BE49-F238E27FC236}">
                  <a16:creationId xmlns:a16="http://schemas.microsoft.com/office/drawing/2014/main" id="{34DD0845-1CFC-3899-890C-4E5FC47285B3}"/>
                </a:ext>
              </a:extLst>
            </p:cNvPr>
            <p:cNvGrpSpPr/>
            <p:nvPr/>
          </p:nvGrpSpPr>
          <p:grpSpPr>
            <a:xfrm>
              <a:off x="7948565" y="3110913"/>
              <a:ext cx="119984" cy="163897"/>
              <a:chOff x="9986041" y="1674428"/>
              <a:chExt cx="188780" cy="232747"/>
            </a:xfrm>
          </p:grpSpPr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B27A563D-65B7-52EF-AF8E-BF824AB26484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rgbClr val="8CBEE6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2973F7A1-D51A-41CA-A4F2-FE07BD561615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0" name="Rechteck 289">
                <a:extLst>
                  <a:ext uri="{FF2B5EF4-FFF2-40B4-BE49-F238E27FC236}">
                    <a16:creationId xmlns:a16="http://schemas.microsoft.com/office/drawing/2014/main" id="{7F9303A0-9526-7C1A-09EC-7EF4A37869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solidFill>
                <a:sysClr val="window" lastClr="FFFFFF">
                  <a:lumMod val="50000"/>
                </a:sys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1" name="Gerader Verbinder 290">
                <a:extLst>
                  <a:ext uri="{FF2B5EF4-FFF2-40B4-BE49-F238E27FC236}">
                    <a16:creationId xmlns:a16="http://schemas.microsoft.com/office/drawing/2014/main" id="{2504C465-524D-FBE3-7ECF-74DEC5FD0E2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miter lim="800000"/>
              </a:ln>
              <a:effectLst/>
            </p:spPr>
          </p:cxnSp>
        </p:grpSp>
      </p:grpSp>
      <p:pic>
        <p:nvPicPr>
          <p:cNvPr id="304" name="Grafik 303" descr="Fabrik Silhouette">
            <a:extLst>
              <a:ext uri="{FF2B5EF4-FFF2-40B4-BE49-F238E27FC236}">
                <a16:creationId xmlns:a16="http://schemas.microsoft.com/office/drawing/2014/main" id="{A327CC0A-4B54-FD7A-36C4-93AC62753E2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051765" y="3906169"/>
            <a:ext cx="589738" cy="589738"/>
          </a:xfrm>
          <a:prstGeom prst="rect">
            <a:avLst/>
          </a:prstGeom>
        </p:spPr>
      </p:pic>
      <p:pic>
        <p:nvPicPr>
          <p:cNvPr id="305" name="Grafik 304" descr="Roboterhand Silhouette">
            <a:extLst>
              <a:ext uri="{FF2B5EF4-FFF2-40B4-BE49-F238E27FC236}">
                <a16:creationId xmlns:a16="http://schemas.microsoft.com/office/drawing/2014/main" id="{B69C4D35-D66E-4245-CAAC-DF5AE5CCCFA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41503" y="4132043"/>
            <a:ext cx="363133" cy="363133"/>
          </a:xfrm>
          <a:prstGeom prst="rect">
            <a:avLst/>
          </a:prstGeom>
        </p:spPr>
      </p:pic>
      <p:sp>
        <p:nvSpPr>
          <p:cNvPr id="307" name="Freihandform: Form 306">
            <a:extLst>
              <a:ext uri="{FF2B5EF4-FFF2-40B4-BE49-F238E27FC236}">
                <a16:creationId xmlns:a16="http://schemas.microsoft.com/office/drawing/2014/main" id="{3DBF6CFF-D251-10C1-C74E-B06250E2C612}"/>
              </a:ext>
            </a:extLst>
          </p:cNvPr>
          <p:cNvSpPr/>
          <p:nvPr/>
        </p:nvSpPr>
        <p:spPr>
          <a:xfrm>
            <a:off x="10050280" y="432630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E9713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8" name="Freihandform: Form 307">
            <a:extLst>
              <a:ext uri="{FF2B5EF4-FFF2-40B4-BE49-F238E27FC236}">
                <a16:creationId xmlns:a16="http://schemas.microsoft.com/office/drawing/2014/main" id="{0F93245E-3EC4-48C8-B76A-648BAA630236}"/>
              </a:ext>
            </a:extLst>
          </p:cNvPr>
          <p:cNvSpPr/>
          <p:nvPr/>
        </p:nvSpPr>
        <p:spPr>
          <a:xfrm flipH="1">
            <a:off x="10238348" y="434978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09" name="Freihandform: Form 308">
            <a:extLst>
              <a:ext uri="{FF2B5EF4-FFF2-40B4-BE49-F238E27FC236}">
                <a16:creationId xmlns:a16="http://schemas.microsoft.com/office/drawing/2014/main" id="{E944E044-2071-FDA0-AEC4-D6B813D1D222}"/>
              </a:ext>
            </a:extLst>
          </p:cNvPr>
          <p:cNvSpPr/>
          <p:nvPr/>
        </p:nvSpPr>
        <p:spPr>
          <a:xfrm flipH="1">
            <a:off x="10147470" y="4346796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0" name="Freihandform: Form 309">
            <a:extLst>
              <a:ext uri="{FF2B5EF4-FFF2-40B4-BE49-F238E27FC236}">
                <a16:creationId xmlns:a16="http://schemas.microsoft.com/office/drawing/2014/main" id="{FF408E61-CC75-568F-B864-D1247A2B0239}"/>
              </a:ext>
            </a:extLst>
          </p:cNvPr>
          <p:cNvSpPr/>
          <p:nvPr/>
        </p:nvSpPr>
        <p:spPr>
          <a:xfrm>
            <a:off x="10491776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FAD2AA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1" name="Freihandform: Form 310">
            <a:extLst>
              <a:ext uri="{FF2B5EF4-FFF2-40B4-BE49-F238E27FC236}">
                <a16:creationId xmlns:a16="http://schemas.microsoft.com/office/drawing/2014/main" id="{BDEFC068-6D9A-A5FB-2285-4C2BAF867D00}"/>
              </a:ext>
            </a:extLst>
          </p:cNvPr>
          <p:cNvSpPr/>
          <p:nvPr/>
        </p:nvSpPr>
        <p:spPr>
          <a:xfrm flipH="1">
            <a:off x="10679844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2" name="Freihandform: Form 311">
            <a:extLst>
              <a:ext uri="{FF2B5EF4-FFF2-40B4-BE49-F238E27FC236}">
                <a16:creationId xmlns:a16="http://schemas.microsoft.com/office/drawing/2014/main" id="{0C99E867-0675-AFD7-BCAE-C8B2D0DB0603}"/>
              </a:ext>
            </a:extLst>
          </p:cNvPr>
          <p:cNvSpPr/>
          <p:nvPr/>
        </p:nvSpPr>
        <p:spPr>
          <a:xfrm flipH="1">
            <a:off x="10588966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3" name="Freihandform: Form 312">
            <a:extLst>
              <a:ext uri="{FF2B5EF4-FFF2-40B4-BE49-F238E27FC236}">
                <a16:creationId xmlns:a16="http://schemas.microsoft.com/office/drawing/2014/main" id="{BBA9DE64-CBCC-80A1-ECD3-DD366A3443BA}"/>
              </a:ext>
            </a:extLst>
          </p:cNvPr>
          <p:cNvSpPr/>
          <p:nvPr/>
        </p:nvSpPr>
        <p:spPr>
          <a:xfrm>
            <a:off x="10920035" y="4332269"/>
            <a:ext cx="394709" cy="145602"/>
          </a:xfrm>
          <a:custGeom>
            <a:avLst/>
            <a:gdLst>
              <a:gd name="connsiteX0" fmla="*/ 251669 w 2230488"/>
              <a:gd name="connsiteY0" fmla="*/ 812103 h 822790"/>
              <a:gd name="connsiteX1" fmla="*/ 170706 w 2230488"/>
              <a:gd name="connsiteY1" fmla="*/ 797815 h 822790"/>
              <a:gd name="connsiteX2" fmla="*/ 58788 w 2230488"/>
              <a:gd name="connsiteY2" fmla="*/ 759715 h 822790"/>
              <a:gd name="connsiteX3" fmla="*/ 20688 w 2230488"/>
              <a:gd name="connsiteY3" fmla="*/ 709709 h 822790"/>
              <a:gd name="connsiteX4" fmla="*/ 11163 w 2230488"/>
              <a:gd name="connsiteY4" fmla="*/ 607315 h 822790"/>
              <a:gd name="connsiteX5" fmla="*/ 1638 w 2230488"/>
              <a:gd name="connsiteY5" fmla="*/ 462059 h 822790"/>
              <a:gd name="connsiteX6" fmla="*/ 6400 w 2230488"/>
              <a:gd name="connsiteY6" fmla="*/ 362047 h 822790"/>
              <a:gd name="connsiteX7" fmla="*/ 61169 w 2230488"/>
              <a:gd name="connsiteY7" fmla="*/ 312040 h 822790"/>
              <a:gd name="connsiteX8" fmla="*/ 130225 w 2230488"/>
              <a:gd name="connsiteY8" fmla="*/ 285847 h 822790"/>
              <a:gd name="connsiteX9" fmla="*/ 246906 w 2230488"/>
              <a:gd name="connsiteY9" fmla="*/ 238222 h 822790"/>
              <a:gd name="connsiteX10" fmla="*/ 327869 w 2230488"/>
              <a:gd name="connsiteY10" fmla="*/ 185834 h 822790"/>
              <a:gd name="connsiteX11" fmla="*/ 413594 w 2230488"/>
              <a:gd name="connsiteY11" fmla="*/ 135828 h 822790"/>
              <a:gd name="connsiteX12" fmla="*/ 506463 w 2230488"/>
              <a:gd name="connsiteY12" fmla="*/ 81059 h 822790"/>
              <a:gd name="connsiteX13" fmla="*/ 608856 w 2230488"/>
              <a:gd name="connsiteY13" fmla="*/ 35815 h 822790"/>
              <a:gd name="connsiteX14" fmla="*/ 751731 w 2230488"/>
              <a:gd name="connsiteY14" fmla="*/ 4859 h 822790"/>
              <a:gd name="connsiteX15" fmla="*/ 901750 w 2230488"/>
              <a:gd name="connsiteY15" fmla="*/ 97 h 822790"/>
              <a:gd name="connsiteX16" fmla="*/ 1061294 w 2230488"/>
              <a:gd name="connsiteY16" fmla="*/ 4859 h 822790"/>
              <a:gd name="connsiteX17" fmla="*/ 1166069 w 2230488"/>
              <a:gd name="connsiteY17" fmla="*/ 14384 h 822790"/>
              <a:gd name="connsiteX18" fmla="*/ 1280369 w 2230488"/>
              <a:gd name="connsiteY18" fmla="*/ 54865 h 822790"/>
              <a:gd name="connsiteX19" fmla="*/ 1370856 w 2230488"/>
              <a:gd name="connsiteY19" fmla="*/ 102490 h 822790"/>
              <a:gd name="connsiteX20" fmla="*/ 1444675 w 2230488"/>
              <a:gd name="connsiteY20" fmla="*/ 152497 h 822790"/>
              <a:gd name="connsiteX21" fmla="*/ 1506588 w 2230488"/>
              <a:gd name="connsiteY21" fmla="*/ 185834 h 822790"/>
              <a:gd name="connsiteX22" fmla="*/ 1585169 w 2230488"/>
              <a:gd name="connsiteY22" fmla="*/ 245365 h 822790"/>
              <a:gd name="connsiteX23" fmla="*/ 1630413 w 2230488"/>
              <a:gd name="connsiteY23" fmla="*/ 276322 h 822790"/>
              <a:gd name="connsiteX24" fmla="*/ 1716138 w 2230488"/>
              <a:gd name="connsiteY24" fmla="*/ 288228 h 822790"/>
              <a:gd name="connsiteX25" fmla="*/ 1797100 w 2230488"/>
              <a:gd name="connsiteY25" fmla="*/ 292990 h 822790"/>
              <a:gd name="connsiteX26" fmla="*/ 1935213 w 2230488"/>
              <a:gd name="connsiteY26" fmla="*/ 312040 h 822790"/>
              <a:gd name="connsiteX27" fmla="*/ 2032844 w 2230488"/>
              <a:gd name="connsiteY27" fmla="*/ 338234 h 822790"/>
              <a:gd name="connsiteX28" fmla="*/ 2118569 w 2230488"/>
              <a:gd name="connsiteY28" fmla="*/ 378715 h 822790"/>
              <a:gd name="connsiteX29" fmla="*/ 2175719 w 2230488"/>
              <a:gd name="connsiteY29" fmla="*/ 407290 h 822790"/>
              <a:gd name="connsiteX30" fmla="*/ 2206675 w 2230488"/>
              <a:gd name="connsiteY30" fmla="*/ 462059 h 822790"/>
              <a:gd name="connsiteX31" fmla="*/ 2223344 w 2230488"/>
              <a:gd name="connsiteY31" fmla="*/ 543022 h 822790"/>
              <a:gd name="connsiteX32" fmla="*/ 2230488 w 2230488"/>
              <a:gd name="connsiteY32" fmla="*/ 619222 h 822790"/>
              <a:gd name="connsiteX33" fmla="*/ 2223344 w 2230488"/>
              <a:gd name="connsiteY33" fmla="*/ 697803 h 822790"/>
              <a:gd name="connsiteX34" fmla="*/ 2218581 w 2230488"/>
              <a:gd name="connsiteY34" fmla="*/ 747809 h 822790"/>
              <a:gd name="connsiteX35" fmla="*/ 2185244 w 2230488"/>
              <a:gd name="connsiteY35" fmla="*/ 783528 h 822790"/>
              <a:gd name="connsiteX36" fmla="*/ 2123331 w 2230488"/>
              <a:gd name="connsiteY36" fmla="*/ 797815 h 822790"/>
              <a:gd name="connsiteX37" fmla="*/ 2075706 w 2230488"/>
              <a:gd name="connsiteY37" fmla="*/ 814484 h 822790"/>
              <a:gd name="connsiteX38" fmla="*/ 2047131 w 2230488"/>
              <a:gd name="connsiteY38" fmla="*/ 821628 h 822790"/>
              <a:gd name="connsiteX39" fmla="*/ 2044750 w 2230488"/>
              <a:gd name="connsiteY39" fmla="*/ 790672 h 822790"/>
              <a:gd name="connsiteX40" fmla="*/ 2025700 w 2230488"/>
              <a:gd name="connsiteY40" fmla="*/ 743047 h 822790"/>
              <a:gd name="connsiteX41" fmla="*/ 1999506 w 2230488"/>
              <a:gd name="connsiteY41" fmla="*/ 688278 h 822790"/>
              <a:gd name="connsiteX42" fmla="*/ 1966169 w 2230488"/>
              <a:gd name="connsiteY42" fmla="*/ 654940 h 822790"/>
              <a:gd name="connsiteX43" fmla="*/ 1923306 w 2230488"/>
              <a:gd name="connsiteY43" fmla="*/ 633509 h 822790"/>
              <a:gd name="connsiteX44" fmla="*/ 1870919 w 2230488"/>
              <a:gd name="connsiteY44" fmla="*/ 616840 h 822790"/>
              <a:gd name="connsiteX45" fmla="*/ 1825675 w 2230488"/>
              <a:gd name="connsiteY45" fmla="*/ 612078 h 822790"/>
              <a:gd name="connsiteX46" fmla="*/ 1749475 w 2230488"/>
              <a:gd name="connsiteY46" fmla="*/ 631128 h 822790"/>
              <a:gd name="connsiteX47" fmla="*/ 1713756 w 2230488"/>
              <a:gd name="connsiteY47" fmla="*/ 654940 h 822790"/>
              <a:gd name="connsiteX48" fmla="*/ 1692325 w 2230488"/>
              <a:gd name="connsiteY48" fmla="*/ 678753 h 822790"/>
              <a:gd name="connsiteX49" fmla="*/ 1670894 w 2230488"/>
              <a:gd name="connsiteY49" fmla="*/ 712090 h 822790"/>
              <a:gd name="connsiteX50" fmla="*/ 1654225 w 2230488"/>
              <a:gd name="connsiteY50" fmla="*/ 757334 h 822790"/>
              <a:gd name="connsiteX51" fmla="*/ 1651844 w 2230488"/>
              <a:gd name="connsiteY51" fmla="*/ 804959 h 822790"/>
              <a:gd name="connsiteX52" fmla="*/ 1642319 w 2230488"/>
              <a:gd name="connsiteY52" fmla="*/ 814484 h 822790"/>
              <a:gd name="connsiteX53" fmla="*/ 1516113 w 2230488"/>
              <a:gd name="connsiteY53" fmla="*/ 814484 h 822790"/>
              <a:gd name="connsiteX54" fmla="*/ 806500 w 2230488"/>
              <a:gd name="connsiteY54" fmla="*/ 816865 h 822790"/>
              <a:gd name="connsiteX55" fmla="*/ 704106 w 2230488"/>
              <a:gd name="connsiteY55" fmla="*/ 819247 h 822790"/>
              <a:gd name="connsiteX56" fmla="*/ 656481 w 2230488"/>
              <a:gd name="connsiteY56" fmla="*/ 819247 h 822790"/>
              <a:gd name="connsiteX57" fmla="*/ 646956 w 2230488"/>
              <a:gd name="connsiteY57" fmla="*/ 778765 h 822790"/>
              <a:gd name="connsiteX58" fmla="*/ 625525 w 2230488"/>
              <a:gd name="connsiteY58" fmla="*/ 721615 h 822790"/>
              <a:gd name="connsiteX59" fmla="*/ 592188 w 2230488"/>
              <a:gd name="connsiteY59" fmla="*/ 671609 h 822790"/>
              <a:gd name="connsiteX60" fmla="*/ 539800 w 2230488"/>
              <a:gd name="connsiteY60" fmla="*/ 631128 h 822790"/>
              <a:gd name="connsiteX61" fmla="*/ 494556 w 2230488"/>
              <a:gd name="connsiteY61" fmla="*/ 616840 h 822790"/>
              <a:gd name="connsiteX62" fmla="*/ 418356 w 2230488"/>
              <a:gd name="connsiteY62" fmla="*/ 607315 h 822790"/>
              <a:gd name="connsiteX63" fmla="*/ 368350 w 2230488"/>
              <a:gd name="connsiteY63" fmla="*/ 626365 h 822790"/>
              <a:gd name="connsiteX64" fmla="*/ 327869 w 2230488"/>
              <a:gd name="connsiteY64" fmla="*/ 657322 h 822790"/>
              <a:gd name="connsiteX65" fmla="*/ 304056 w 2230488"/>
              <a:gd name="connsiteY65" fmla="*/ 697803 h 822790"/>
              <a:gd name="connsiteX66" fmla="*/ 285006 w 2230488"/>
              <a:gd name="connsiteY66" fmla="*/ 747809 h 822790"/>
              <a:gd name="connsiteX67" fmla="*/ 251669 w 2230488"/>
              <a:gd name="connsiteY67" fmla="*/ 812103 h 822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230488" h="822790">
                <a:moveTo>
                  <a:pt x="251669" y="812103"/>
                </a:moveTo>
                <a:cubicBezTo>
                  <a:pt x="232619" y="820437"/>
                  <a:pt x="202853" y="806546"/>
                  <a:pt x="170706" y="797815"/>
                </a:cubicBezTo>
                <a:cubicBezTo>
                  <a:pt x="138559" y="789084"/>
                  <a:pt x="83791" y="774399"/>
                  <a:pt x="58788" y="759715"/>
                </a:cubicBezTo>
                <a:cubicBezTo>
                  <a:pt x="33785" y="745031"/>
                  <a:pt x="28625" y="735109"/>
                  <a:pt x="20688" y="709709"/>
                </a:cubicBezTo>
                <a:cubicBezTo>
                  <a:pt x="12751" y="684309"/>
                  <a:pt x="14338" y="648590"/>
                  <a:pt x="11163" y="607315"/>
                </a:cubicBezTo>
                <a:cubicBezTo>
                  <a:pt x="7988" y="566040"/>
                  <a:pt x="2432" y="502937"/>
                  <a:pt x="1638" y="462059"/>
                </a:cubicBezTo>
                <a:cubicBezTo>
                  <a:pt x="844" y="421181"/>
                  <a:pt x="-3522" y="387050"/>
                  <a:pt x="6400" y="362047"/>
                </a:cubicBezTo>
                <a:cubicBezTo>
                  <a:pt x="16322" y="337044"/>
                  <a:pt x="40532" y="324740"/>
                  <a:pt x="61169" y="312040"/>
                </a:cubicBezTo>
                <a:cubicBezTo>
                  <a:pt x="81806" y="299340"/>
                  <a:pt x="99269" y="298150"/>
                  <a:pt x="130225" y="285847"/>
                </a:cubicBezTo>
                <a:cubicBezTo>
                  <a:pt x="161181" y="273544"/>
                  <a:pt x="213965" y="254891"/>
                  <a:pt x="246906" y="238222"/>
                </a:cubicBezTo>
                <a:cubicBezTo>
                  <a:pt x="279847" y="221553"/>
                  <a:pt x="300088" y="202900"/>
                  <a:pt x="327869" y="185834"/>
                </a:cubicBezTo>
                <a:cubicBezTo>
                  <a:pt x="355650" y="168768"/>
                  <a:pt x="413594" y="135828"/>
                  <a:pt x="413594" y="135828"/>
                </a:cubicBezTo>
                <a:cubicBezTo>
                  <a:pt x="443360" y="118366"/>
                  <a:pt x="473919" y="97728"/>
                  <a:pt x="506463" y="81059"/>
                </a:cubicBezTo>
                <a:cubicBezTo>
                  <a:pt x="539007" y="64390"/>
                  <a:pt x="567978" y="48515"/>
                  <a:pt x="608856" y="35815"/>
                </a:cubicBezTo>
                <a:cubicBezTo>
                  <a:pt x="649734" y="23115"/>
                  <a:pt x="702915" y="10812"/>
                  <a:pt x="751731" y="4859"/>
                </a:cubicBezTo>
                <a:cubicBezTo>
                  <a:pt x="800547" y="-1094"/>
                  <a:pt x="850156" y="97"/>
                  <a:pt x="901750" y="97"/>
                </a:cubicBezTo>
                <a:cubicBezTo>
                  <a:pt x="953344" y="97"/>
                  <a:pt x="1017241" y="2478"/>
                  <a:pt x="1061294" y="4859"/>
                </a:cubicBezTo>
                <a:cubicBezTo>
                  <a:pt x="1105347" y="7240"/>
                  <a:pt x="1129557" y="6050"/>
                  <a:pt x="1166069" y="14384"/>
                </a:cubicBezTo>
                <a:cubicBezTo>
                  <a:pt x="1202581" y="22718"/>
                  <a:pt x="1246238" y="40181"/>
                  <a:pt x="1280369" y="54865"/>
                </a:cubicBezTo>
                <a:cubicBezTo>
                  <a:pt x="1314500" y="69549"/>
                  <a:pt x="1343472" y="86218"/>
                  <a:pt x="1370856" y="102490"/>
                </a:cubicBezTo>
                <a:cubicBezTo>
                  <a:pt x="1398240" y="118762"/>
                  <a:pt x="1422053" y="138606"/>
                  <a:pt x="1444675" y="152497"/>
                </a:cubicBezTo>
                <a:cubicBezTo>
                  <a:pt x="1467297" y="166388"/>
                  <a:pt x="1483172" y="170356"/>
                  <a:pt x="1506588" y="185834"/>
                </a:cubicBezTo>
                <a:cubicBezTo>
                  <a:pt x="1530004" y="201312"/>
                  <a:pt x="1564532" y="230284"/>
                  <a:pt x="1585169" y="245365"/>
                </a:cubicBezTo>
                <a:cubicBezTo>
                  <a:pt x="1605806" y="260446"/>
                  <a:pt x="1608585" y="269178"/>
                  <a:pt x="1630413" y="276322"/>
                </a:cubicBezTo>
                <a:cubicBezTo>
                  <a:pt x="1652241" y="283466"/>
                  <a:pt x="1688357" y="285450"/>
                  <a:pt x="1716138" y="288228"/>
                </a:cubicBezTo>
                <a:cubicBezTo>
                  <a:pt x="1743919" y="291006"/>
                  <a:pt x="1760588" y="289021"/>
                  <a:pt x="1797100" y="292990"/>
                </a:cubicBezTo>
                <a:cubicBezTo>
                  <a:pt x="1833613" y="296959"/>
                  <a:pt x="1895922" y="304499"/>
                  <a:pt x="1935213" y="312040"/>
                </a:cubicBezTo>
                <a:cubicBezTo>
                  <a:pt x="1974504" y="319581"/>
                  <a:pt x="2002285" y="327121"/>
                  <a:pt x="2032844" y="338234"/>
                </a:cubicBezTo>
                <a:cubicBezTo>
                  <a:pt x="2063403" y="349347"/>
                  <a:pt x="2094757" y="367206"/>
                  <a:pt x="2118569" y="378715"/>
                </a:cubicBezTo>
                <a:cubicBezTo>
                  <a:pt x="2142381" y="390224"/>
                  <a:pt x="2161035" y="393399"/>
                  <a:pt x="2175719" y="407290"/>
                </a:cubicBezTo>
                <a:cubicBezTo>
                  <a:pt x="2190403" y="421181"/>
                  <a:pt x="2198738" y="439437"/>
                  <a:pt x="2206675" y="462059"/>
                </a:cubicBezTo>
                <a:cubicBezTo>
                  <a:pt x="2214612" y="484681"/>
                  <a:pt x="2219375" y="516828"/>
                  <a:pt x="2223344" y="543022"/>
                </a:cubicBezTo>
                <a:cubicBezTo>
                  <a:pt x="2227313" y="569216"/>
                  <a:pt x="2230488" y="593425"/>
                  <a:pt x="2230488" y="619222"/>
                </a:cubicBezTo>
                <a:cubicBezTo>
                  <a:pt x="2230488" y="645019"/>
                  <a:pt x="2225328" y="676372"/>
                  <a:pt x="2223344" y="697803"/>
                </a:cubicBezTo>
                <a:cubicBezTo>
                  <a:pt x="2221360" y="719234"/>
                  <a:pt x="2224931" y="733521"/>
                  <a:pt x="2218581" y="747809"/>
                </a:cubicBezTo>
                <a:cubicBezTo>
                  <a:pt x="2212231" y="762097"/>
                  <a:pt x="2201119" y="775194"/>
                  <a:pt x="2185244" y="783528"/>
                </a:cubicBezTo>
                <a:cubicBezTo>
                  <a:pt x="2169369" y="791862"/>
                  <a:pt x="2141587" y="792656"/>
                  <a:pt x="2123331" y="797815"/>
                </a:cubicBezTo>
                <a:cubicBezTo>
                  <a:pt x="2105075" y="802974"/>
                  <a:pt x="2088406" y="810515"/>
                  <a:pt x="2075706" y="814484"/>
                </a:cubicBezTo>
                <a:cubicBezTo>
                  <a:pt x="2063006" y="818453"/>
                  <a:pt x="2052290" y="825597"/>
                  <a:pt x="2047131" y="821628"/>
                </a:cubicBezTo>
                <a:cubicBezTo>
                  <a:pt x="2041972" y="817659"/>
                  <a:pt x="2048322" y="803769"/>
                  <a:pt x="2044750" y="790672"/>
                </a:cubicBezTo>
                <a:cubicBezTo>
                  <a:pt x="2041178" y="777575"/>
                  <a:pt x="2033241" y="760113"/>
                  <a:pt x="2025700" y="743047"/>
                </a:cubicBezTo>
                <a:cubicBezTo>
                  <a:pt x="2018159" y="725981"/>
                  <a:pt x="2009428" y="702962"/>
                  <a:pt x="1999506" y="688278"/>
                </a:cubicBezTo>
                <a:cubicBezTo>
                  <a:pt x="1989584" y="673594"/>
                  <a:pt x="1978869" y="664068"/>
                  <a:pt x="1966169" y="654940"/>
                </a:cubicBezTo>
                <a:cubicBezTo>
                  <a:pt x="1953469" y="645812"/>
                  <a:pt x="1939181" y="639859"/>
                  <a:pt x="1923306" y="633509"/>
                </a:cubicBezTo>
                <a:cubicBezTo>
                  <a:pt x="1907431" y="627159"/>
                  <a:pt x="1887191" y="620412"/>
                  <a:pt x="1870919" y="616840"/>
                </a:cubicBezTo>
                <a:cubicBezTo>
                  <a:pt x="1854647" y="613268"/>
                  <a:pt x="1845916" y="609697"/>
                  <a:pt x="1825675" y="612078"/>
                </a:cubicBezTo>
                <a:cubicBezTo>
                  <a:pt x="1805434" y="614459"/>
                  <a:pt x="1768128" y="623984"/>
                  <a:pt x="1749475" y="631128"/>
                </a:cubicBezTo>
                <a:cubicBezTo>
                  <a:pt x="1730822" y="638272"/>
                  <a:pt x="1723281" y="647003"/>
                  <a:pt x="1713756" y="654940"/>
                </a:cubicBezTo>
                <a:cubicBezTo>
                  <a:pt x="1704231" y="662877"/>
                  <a:pt x="1699469" y="669228"/>
                  <a:pt x="1692325" y="678753"/>
                </a:cubicBezTo>
                <a:cubicBezTo>
                  <a:pt x="1685181" y="688278"/>
                  <a:pt x="1677244" y="698993"/>
                  <a:pt x="1670894" y="712090"/>
                </a:cubicBezTo>
                <a:cubicBezTo>
                  <a:pt x="1664544" y="725187"/>
                  <a:pt x="1657400" y="741856"/>
                  <a:pt x="1654225" y="757334"/>
                </a:cubicBezTo>
                <a:cubicBezTo>
                  <a:pt x="1651050" y="772812"/>
                  <a:pt x="1653828" y="795434"/>
                  <a:pt x="1651844" y="804959"/>
                </a:cubicBezTo>
                <a:cubicBezTo>
                  <a:pt x="1649860" y="814484"/>
                  <a:pt x="1664941" y="812897"/>
                  <a:pt x="1642319" y="814484"/>
                </a:cubicBezTo>
                <a:cubicBezTo>
                  <a:pt x="1619697" y="816071"/>
                  <a:pt x="1516113" y="814484"/>
                  <a:pt x="1516113" y="814484"/>
                </a:cubicBezTo>
                <a:lnTo>
                  <a:pt x="806500" y="816865"/>
                </a:lnTo>
                <a:cubicBezTo>
                  <a:pt x="671166" y="817659"/>
                  <a:pt x="729109" y="818850"/>
                  <a:pt x="704106" y="819247"/>
                </a:cubicBezTo>
                <a:cubicBezTo>
                  <a:pt x="679103" y="819644"/>
                  <a:pt x="666006" y="825994"/>
                  <a:pt x="656481" y="819247"/>
                </a:cubicBezTo>
                <a:cubicBezTo>
                  <a:pt x="646956" y="812500"/>
                  <a:pt x="652115" y="795037"/>
                  <a:pt x="646956" y="778765"/>
                </a:cubicBezTo>
                <a:cubicBezTo>
                  <a:pt x="641797" y="762493"/>
                  <a:pt x="634653" y="739474"/>
                  <a:pt x="625525" y="721615"/>
                </a:cubicBezTo>
                <a:cubicBezTo>
                  <a:pt x="616397" y="703756"/>
                  <a:pt x="606476" y="686690"/>
                  <a:pt x="592188" y="671609"/>
                </a:cubicBezTo>
                <a:cubicBezTo>
                  <a:pt x="577901" y="656528"/>
                  <a:pt x="556072" y="640256"/>
                  <a:pt x="539800" y="631128"/>
                </a:cubicBezTo>
                <a:cubicBezTo>
                  <a:pt x="523528" y="622000"/>
                  <a:pt x="514797" y="620809"/>
                  <a:pt x="494556" y="616840"/>
                </a:cubicBezTo>
                <a:cubicBezTo>
                  <a:pt x="474315" y="612871"/>
                  <a:pt x="439390" y="605728"/>
                  <a:pt x="418356" y="607315"/>
                </a:cubicBezTo>
                <a:cubicBezTo>
                  <a:pt x="397322" y="608902"/>
                  <a:pt x="383431" y="618031"/>
                  <a:pt x="368350" y="626365"/>
                </a:cubicBezTo>
                <a:cubicBezTo>
                  <a:pt x="353269" y="634699"/>
                  <a:pt x="338585" y="645416"/>
                  <a:pt x="327869" y="657322"/>
                </a:cubicBezTo>
                <a:cubicBezTo>
                  <a:pt x="317153" y="669228"/>
                  <a:pt x="311200" y="682722"/>
                  <a:pt x="304056" y="697803"/>
                </a:cubicBezTo>
                <a:cubicBezTo>
                  <a:pt x="296912" y="712884"/>
                  <a:pt x="290562" y="731934"/>
                  <a:pt x="285006" y="747809"/>
                </a:cubicBezTo>
                <a:cubicBezTo>
                  <a:pt x="279450" y="763684"/>
                  <a:pt x="270719" y="803769"/>
                  <a:pt x="251669" y="812103"/>
                </a:cubicBezTo>
                <a:close/>
              </a:path>
            </a:pathLst>
          </a:custGeom>
          <a:solidFill>
            <a:srgbClr val="8CBEE6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4" name="Freihandform: Form 313">
            <a:extLst>
              <a:ext uri="{FF2B5EF4-FFF2-40B4-BE49-F238E27FC236}">
                <a16:creationId xmlns:a16="http://schemas.microsoft.com/office/drawing/2014/main" id="{9384B855-C7F6-C724-B7D8-12379482D8E9}"/>
              </a:ext>
            </a:extLst>
          </p:cNvPr>
          <p:cNvSpPr/>
          <p:nvPr/>
        </p:nvSpPr>
        <p:spPr>
          <a:xfrm flipH="1">
            <a:off x="11108103" y="4355743"/>
            <a:ext cx="90442" cy="94261"/>
          </a:xfrm>
          <a:custGeom>
            <a:avLst/>
            <a:gdLst>
              <a:gd name="connsiteX0" fmla="*/ 117322 w 1433831"/>
              <a:gd name="connsiteY0" fmla="*/ 1267246 h 1394002"/>
              <a:gd name="connsiteX1" fmla="*/ 1196822 w 1433831"/>
              <a:gd name="connsiteY1" fmla="*/ 1273596 h 1394002"/>
              <a:gd name="connsiteX2" fmla="*/ 1409547 w 1433831"/>
              <a:gd name="connsiteY2" fmla="*/ 82971 h 1394002"/>
              <a:gd name="connsiteX3" fmla="*/ 809472 w 1433831"/>
              <a:gd name="connsiteY3" fmla="*/ 146471 h 1394002"/>
              <a:gd name="connsiteX4" fmla="*/ 107797 w 1433831"/>
              <a:gd name="connsiteY4" fmla="*/ 511596 h 1394002"/>
              <a:gd name="connsiteX5" fmla="*/ 117322 w 1433831"/>
              <a:gd name="connsiteY5" fmla="*/ 1267246 h 1394002"/>
              <a:gd name="connsiteX0" fmla="*/ 106065 w 1422574"/>
              <a:gd name="connsiteY0" fmla="*/ 1267246 h 1357690"/>
              <a:gd name="connsiteX1" fmla="*/ 1185565 w 1422574"/>
              <a:gd name="connsiteY1" fmla="*/ 1273596 h 1357690"/>
              <a:gd name="connsiteX2" fmla="*/ 1398290 w 1422574"/>
              <a:gd name="connsiteY2" fmla="*/ 82971 h 1357690"/>
              <a:gd name="connsiteX3" fmla="*/ 798215 w 1422574"/>
              <a:gd name="connsiteY3" fmla="*/ 146471 h 1357690"/>
              <a:gd name="connsiteX4" fmla="*/ 96540 w 1422574"/>
              <a:gd name="connsiteY4" fmla="*/ 511596 h 1357690"/>
              <a:gd name="connsiteX5" fmla="*/ 106065 w 1422574"/>
              <a:gd name="connsiteY5" fmla="*/ 1267246 h 1357690"/>
              <a:gd name="connsiteX0" fmla="*/ 106065 w 1424928"/>
              <a:gd name="connsiteY0" fmla="*/ 1267246 h 1294506"/>
              <a:gd name="connsiteX1" fmla="*/ 1185565 w 1424928"/>
              <a:gd name="connsiteY1" fmla="*/ 1273596 h 1294506"/>
              <a:gd name="connsiteX2" fmla="*/ 1398290 w 1424928"/>
              <a:gd name="connsiteY2" fmla="*/ 82971 h 1294506"/>
              <a:gd name="connsiteX3" fmla="*/ 798215 w 1424928"/>
              <a:gd name="connsiteY3" fmla="*/ 146471 h 1294506"/>
              <a:gd name="connsiteX4" fmla="*/ 96540 w 1424928"/>
              <a:gd name="connsiteY4" fmla="*/ 511596 h 1294506"/>
              <a:gd name="connsiteX5" fmla="*/ 106065 w 1424928"/>
              <a:gd name="connsiteY5" fmla="*/ 1267246 h 129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4928" h="1294506">
                <a:moveTo>
                  <a:pt x="106065" y="1267246"/>
                </a:moveTo>
                <a:cubicBezTo>
                  <a:pt x="258994" y="1257721"/>
                  <a:pt x="954319" y="1328100"/>
                  <a:pt x="1185565" y="1273596"/>
                </a:cubicBezTo>
                <a:cubicBezTo>
                  <a:pt x="1416811" y="1219092"/>
                  <a:pt x="1462848" y="270825"/>
                  <a:pt x="1398290" y="82971"/>
                </a:cubicBezTo>
                <a:cubicBezTo>
                  <a:pt x="1333732" y="-104883"/>
                  <a:pt x="1015173" y="75034"/>
                  <a:pt x="798215" y="146471"/>
                </a:cubicBezTo>
                <a:cubicBezTo>
                  <a:pt x="581257" y="217908"/>
                  <a:pt x="213486" y="325329"/>
                  <a:pt x="96540" y="511596"/>
                </a:cubicBezTo>
                <a:cubicBezTo>
                  <a:pt x="-20406" y="697863"/>
                  <a:pt x="-46864" y="1276771"/>
                  <a:pt x="106065" y="1267246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15" name="Freihandform: Form 314">
            <a:extLst>
              <a:ext uri="{FF2B5EF4-FFF2-40B4-BE49-F238E27FC236}">
                <a16:creationId xmlns:a16="http://schemas.microsoft.com/office/drawing/2014/main" id="{D4755914-EF63-D9FA-3501-D7B874E4025D}"/>
              </a:ext>
            </a:extLst>
          </p:cNvPr>
          <p:cNvSpPr/>
          <p:nvPr/>
        </p:nvSpPr>
        <p:spPr>
          <a:xfrm flipH="1">
            <a:off x="11017225" y="4352757"/>
            <a:ext cx="87826" cy="95045"/>
          </a:xfrm>
          <a:custGeom>
            <a:avLst/>
            <a:gdLst>
              <a:gd name="connsiteX0" fmla="*/ 44087 w 1372001"/>
              <a:gd name="connsiteY0" fmla="*/ 1267043 h 1362366"/>
              <a:gd name="connsiteX1" fmla="*/ 148862 w 1372001"/>
              <a:gd name="connsiteY1" fmla="*/ 857468 h 1362366"/>
              <a:gd name="connsiteX2" fmla="*/ 209187 w 1372001"/>
              <a:gd name="connsiteY2" fmla="*/ 251043 h 1362366"/>
              <a:gd name="connsiteX3" fmla="*/ 215537 w 1372001"/>
              <a:gd name="connsiteY3" fmla="*/ 28793 h 1362366"/>
              <a:gd name="connsiteX4" fmla="*/ 1031512 w 1372001"/>
              <a:gd name="connsiteY4" fmla="*/ 51018 h 1362366"/>
              <a:gd name="connsiteX5" fmla="*/ 1371237 w 1372001"/>
              <a:gd name="connsiteY5" fmla="*/ 466943 h 1362366"/>
              <a:gd name="connsiteX6" fmla="*/ 952137 w 1372001"/>
              <a:gd name="connsiteY6" fmla="*/ 1292443 h 1362366"/>
              <a:gd name="connsiteX7" fmla="*/ 44087 w 1372001"/>
              <a:gd name="connsiteY7" fmla="*/ 1267043 h 1362366"/>
              <a:gd name="connsiteX0" fmla="*/ 44087 w 1372001"/>
              <a:gd name="connsiteY0" fmla="*/ 1267043 h 1302912"/>
              <a:gd name="connsiteX1" fmla="*/ 148862 w 1372001"/>
              <a:gd name="connsiteY1" fmla="*/ 857468 h 1302912"/>
              <a:gd name="connsiteX2" fmla="*/ 209187 w 1372001"/>
              <a:gd name="connsiteY2" fmla="*/ 251043 h 1302912"/>
              <a:gd name="connsiteX3" fmla="*/ 215537 w 1372001"/>
              <a:gd name="connsiteY3" fmla="*/ 28793 h 1302912"/>
              <a:gd name="connsiteX4" fmla="*/ 1031512 w 1372001"/>
              <a:gd name="connsiteY4" fmla="*/ 51018 h 1302912"/>
              <a:gd name="connsiteX5" fmla="*/ 1371237 w 1372001"/>
              <a:gd name="connsiteY5" fmla="*/ 466943 h 1302912"/>
              <a:gd name="connsiteX6" fmla="*/ 952137 w 1372001"/>
              <a:gd name="connsiteY6" fmla="*/ 1292443 h 1302912"/>
              <a:gd name="connsiteX7" fmla="*/ 44087 w 1372001"/>
              <a:gd name="connsiteY7" fmla="*/ 1267043 h 1302912"/>
              <a:gd name="connsiteX0" fmla="*/ 57257 w 1385171"/>
              <a:gd name="connsiteY0" fmla="*/ 1267043 h 1303605"/>
              <a:gd name="connsiteX1" fmla="*/ 108057 w 1385171"/>
              <a:gd name="connsiteY1" fmla="*/ 847943 h 1303605"/>
              <a:gd name="connsiteX2" fmla="*/ 222357 w 1385171"/>
              <a:gd name="connsiteY2" fmla="*/ 251043 h 1303605"/>
              <a:gd name="connsiteX3" fmla="*/ 228707 w 1385171"/>
              <a:gd name="connsiteY3" fmla="*/ 28793 h 1303605"/>
              <a:gd name="connsiteX4" fmla="*/ 1044682 w 1385171"/>
              <a:gd name="connsiteY4" fmla="*/ 51018 h 1303605"/>
              <a:gd name="connsiteX5" fmla="*/ 1384407 w 1385171"/>
              <a:gd name="connsiteY5" fmla="*/ 466943 h 1303605"/>
              <a:gd name="connsiteX6" fmla="*/ 965307 w 1385171"/>
              <a:gd name="connsiteY6" fmla="*/ 1292443 h 1303605"/>
              <a:gd name="connsiteX7" fmla="*/ 57257 w 1385171"/>
              <a:gd name="connsiteY7" fmla="*/ 1267043 h 1303605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750"/>
              <a:gd name="connsiteY0" fmla="*/ 1266841 h 1303403"/>
              <a:gd name="connsiteX1" fmla="*/ 106636 w 1383750"/>
              <a:gd name="connsiteY1" fmla="*/ 847741 h 1303403"/>
              <a:gd name="connsiteX2" fmla="*/ 173311 w 1383750"/>
              <a:gd name="connsiteY2" fmla="*/ 247666 h 1303403"/>
              <a:gd name="connsiteX3" fmla="*/ 227286 w 1383750"/>
              <a:gd name="connsiteY3" fmla="*/ 28591 h 1303403"/>
              <a:gd name="connsiteX4" fmla="*/ 1043261 w 1383750"/>
              <a:gd name="connsiteY4" fmla="*/ 50816 h 1303403"/>
              <a:gd name="connsiteX5" fmla="*/ 1382986 w 1383750"/>
              <a:gd name="connsiteY5" fmla="*/ 466741 h 1303403"/>
              <a:gd name="connsiteX6" fmla="*/ 963886 w 1383750"/>
              <a:gd name="connsiteY6" fmla="*/ 1292241 h 1303403"/>
              <a:gd name="connsiteX7" fmla="*/ 55836 w 1383750"/>
              <a:gd name="connsiteY7" fmla="*/ 1266841 h 1303403"/>
              <a:gd name="connsiteX0" fmla="*/ 55836 w 1383689"/>
              <a:gd name="connsiteY0" fmla="*/ 1268700 h 1305262"/>
              <a:gd name="connsiteX1" fmla="*/ 106636 w 1383689"/>
              <a:gd name="connsiteY1" fmla="*/ 849600 h 1305262"/>
              <a:gd name="connsiteX2" fmla="*/ 173311 w 1383689"/>
              <a:gd name="connsiteY2" fmla="*/ 249525 h 1305262"/>
              <a:gd name="connsiteX3" fmla="*/ 319361 w 1383689"/>
              <a:gd name="connsiteY3" fmla="*/ 27275 h 1305262"/>
              <a:gd name="connsiteX4" fmla="*/ 1043261 w 1383689"/>
              <a:gd name="connsiteY4" fmla="*/ 52675 h 1305262"/>
              <a:gd name="connsiteX5" fmla="*/ 1382986 w 1383689"/>
              <a:gd name="connsiteY5" fmla="*/ 468600 h 1305262"/>
              <a:gd name="connsiteX6" fmla="*/ 963886 w 1383689"/>
              <a:gd name="connsiteY6" fmla="*/ 1294100 h 1305262"/>
              <a:gd name="connsiteX7" fmla="*/ 55836 w 1383689"/>
              <a:gd name="connsiteY7" fmla="*/ 1268700 h 1305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689" h="1305262">
                <a:moveTo>
                  <a:pt x="55836" y="1268700"/>
                </a:moveTo>
                <a:cubicBezTo>
                  <a:pt x="-87039" y="1194617"/>
                  <a:pt x="87057" y="1019462"/>
                  <a:pt x="106636" y="849600"/>
                </a:cubicBezTo>
                <a:cubicBezTo>
                  <a:pt x="126215" y="679738"/>
                  <a:pt x="137857" y="386579"/>
                  <a:pt x="173311" y="249525"/>
                </a:cubicBezTo>
                <a:cubicBezTo>
                  <a:pt x="208765" y="112471"/>
                  <a:pt x="174370" y="60083"/>
                  <a:pt x="319361" y="27275"/>
                </a:cubicBezTo>
                <a:cubicBezTo>
                  <a:pt x="464352" y="-5533"/>
                  <a:pt x="865990" y="-20879"/>
                  <a:pt x="1043261" y="52675"/>
                </a:cubicBezTo>
                <a:cubicBezTo>
                  <a:pt x="1220532" y="126229"/>
                  <a:pt x="1396215" y="261696"/>
                  <a:pt x="1382986" y="468600"/>
                </a:cubicBezTo>
                <a:cubicBezTo>
                  <a:pt x="1369757" y="675504"/>
                  <a:pt x="1179257" y="1309446"/>
                  <a:pt x="963886" y="1294100"/>
                </a:cubicBezTo>
                <a:cubicBezTo>
                  <a:pt x="748515" y="1278754"/>
                  <a:pt x="198711" y="1342783"/>
                  <a:pt x="55836" y="1268700"/>
                </a:cubicBezTo>
                <a:close/>
              </a:path>
            </a:pathLst>
          </a:cu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17" name="Grafik 316" descr="Cmd (Terminal) Silhouette">
            <a:extLst>
              <a:ext uri="{FF2B5EF4-FFF2-40B4-BE49-F238E27FC236}">
                <a16:creationId xmlns:a16="http://schemas.microsoft.com/office/drawing/2014/main" id="{02012228-1465-6301-BB6F-A7AA2CDCD61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1" y="2708644"/>
            <a:ext cx="185955" cy="185955"/>
          </a:xfrm>
          <a:prstGeom prst="rect">
            <a:avLst/>
          </a:prstGeom>
        </p:spPr>
      </p:pic>
      <p:pic>
        <p:nvPicPr>
          <p:cNvPr id="318" name="Grafik 317" descr="Cmd (Terminal) Silhouette">
            <a:extLst>
              <a:ext uri="{FF2B5EF4-FFF2-40B4-BE49-F238E27FC236}">
                <a16:creationId xmlns:a16="http://schemas.microsoft.com/office/drawing/2014/main" id="{4006175F-962E-9A35-7810-A5E78ECA2A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0" y="2570504"/>
            <a:ext cx="185955" cy="185955"/>
          </a:xfrm>
          <a:prstGeom prst="rect">
            <a:avLst/>
          </a:prstGeom>
        </p:spPr>
      </p:pic>
      <p:pic>
        <p:nvPicPr>
          <p:cNvPr id="319" name="Grafik 318" descr="Cmd (Terminal) Silhouette">
            <a:extLst>
              <a:ext uri="{FF2B5EF4-FFF2-40B4-BE49-F238E27FC236}">
                <a16:creationId xmlns:a16="http://schemas.microsoft.com/office/drawing/2014/main" id="{BC43145D-68EE-E464-CBEA-6E3CC3EF98F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31033" y="3695190"/>
            <a:ext cx="185955" cy="185955"/>
          </a:xfrm>
          <a:prstGeom prst="rect">
            <a:avLst/>
          </a:prstGeom>
        </p:spPr>
      </p:pic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8D0123D0-3BA0-0B9A-F70E-7349041AD6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231033" y="3556744"/>
            <a:ext cx="185955" cy="185955"/>
          </a:xfrm>
          <a:prstGeom prst="rect">
            <a:avLst/>
          </a:prstGeom>
        </p:spPr>
      </p:pic>
      <p:pic>
        <p:nvPicPr>
          <p:cNvPr id="321" name="Grafik 320" descr="Cmd (Terminal) Silhouette">
            <a:extLst>
              <a:ext uri="{FF2B5EF4-FFF2-40B4-BE49-F238E27FC236}">
                <a16:creationId xmlns:a16="http://schemas.microsoft.com/office/drawing/2014/main" id="{ABB67337-CFFB-52D8-BECB-3FB1DBDD29E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231033" y="3418298"/>
            <a:ext cx="185955" cy="185955"/>
          </a:xfrm>
          <a:prstGeom prst="rect">
            <a:avLst/>
          </a:prstGeom>
        </p:spPr>
      </p:pic>
      <p:pic>
        <p:nvPicPr>
          <p:cNvPr id="322" name="Grafik 321" descr="Cmd (Terminal) Silhouette">
            <a:extLst>
              <a:ext uri="{FF2B5EF4-FFF2-40B4-BE49-F238E27FC236}">
                <a16:creationId xmlns:a16="http://schemas.microsoft.com/office/drawing/2014/main" id="{3247BBE7-548E-E299-AF2A-8703B63EFBF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231033" y="3279852"/>
            <a:ext cx="185955" cy="185955"/>
          </a:xfrm>
          <a:prstGeom prst="rect">
            <a:avLst/>
          </a:prstGeom>
        </p:spPr>
      </p:pic>
      <p:pic>
        <p:nvPicPr>
          <p:cNvPr id="323" name="Grafik 322" descr="Cmd (Terminal) Silhouette">
            <a:extLst>
              <a:ext uri="{FF2B5EF4-FFF2-40B4-BE49-F238E27FC236}">
                <a16:creationId xmlns:a16="http://schemas.microsoft.com/office/drawing/2014/main" id="{85694F0D-5B7A-C3D7-9539-FF80E7C3F85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231031" y="2855854"/>
            <a:ext cx="185955" cy="185955"/>
          </a:xfrm>
          <a:prstGeom prst="rect">
            <a:avLst/>
          </a:prstGeom>
        </p:spPr>
      </p:pic>
      <p:pic>
        <p:nvPicPr>
          <p:cNvPr id="324" name="Grafik 323" descr="Cmd (Terminal) Silhouette">
            <a:extLst>
              <a:ext uri="{FF2B5EF4-FFF2-40B4-BE49-F238E27FC236}">
                <a16:creationId xmlns:a16="http://schemas.microsoft.com/office/drawing/2014/main" id="{262EDC53-9FE3-E858-086A-4BE5E6ED68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1031" y="2994315"/>
            <a:ext cx="185955" cy="185955"/>
          </a:xfrm>
          <a:prstGeom prst="rect">
            <a:avLst/>
          </a:prstGeom>
        </p:spPr>
      </p:pic>
      <p:pic>
        <p:nvPicPr>
          <p:cNvPr id="325" name="Grafik 324" descr="Cmd (Terminal) Silhouette">
            <a:extLst>
              <a:ext uri="{FF2B5EF4-FFF2-40B4-BE49-F238E27FC236}">
                <a16:creationId xmlns:a16="http://schemas.microsoft.com/office/drawing/2014/main" id="{5B31CB69-336A-0623-3E9D-25EEB65965A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231032" y="3134787"/>
            <a:ext cx="185955" cy="185955"/>
          </a:xfrm>
          <a:prstGeom prst="rect">
            <a:avLst/>
          </a:prstGeom>
        </p:spPr>
      </p:pic>
      <p:pic>
        <p:nvPicPr>
          <p:cNvPr id="327" name="Grafik 326" descr="Cmd (Terminal) Silhouette">
            <a:extLst>
              <a:ext uri="{FF2B5EF4-FFF2-40B4-BE49-F238E27FC236}">
                <a16:creationId xmlns:a16="http://schemas.microsoft.com/office/drawing/2014/main" id="{F3CE2B19-677A-1782-F37F-0337BB2B24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9" y="3649888"/>
            <a:ext cx="193532" cy="193532"/>
          </a:xfrm>
          <a:prstGeom prst="rect">
            <a:avLst/>
          </a:prstGeom>
        </p:spPr>
      </p:pic>
      <p:pic>
        <p:nvPicPr>
          <p:cNvPr id="328" name="Grafik 327" descr="Cmd (Terminal) Silhouette">
            <a:extLst>
              <a:ext uri="{FF2B5EF4-FFF2-40B4-BE49-F238E27FC236}">
                <a16:creationId xmlns:a16="http://schemas.microsoft.com/office/drawing/2014/main" id="{7370A60F-C850-D59C-51B7-EE7DE309E68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504483"/>
            <a:ext cx="193532" cy="193532"/>
          </a:xfrm>
          <a:prstGeom prst="rect">
            <a:avLst/>
          </a:prstGeom>
        </p:spPr>
      </p:pic>
      <p:pic>
        <p:nvPicPr>
          <p:cNvPr id="329" name="Grafik 328" descr="Cmd (Terminal) Silhouette">
            <a:extLst>
              <a:ext uri="{FF2B5EF4-FFF2-40B4-BE49-F238E27FC236}">
                <a16:creationId xmlns:a16="http://schemas.microsoft.com/office/drawing/2014/main" id="{1EE59947-91E4-B88E-71DF-AE17C245F87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95617" y="3363455"/>
            <a:ext cx="193532" cy="193532"/>
          </a:xfrm>
          <a:prstGeom prst="rect">
            <a:avLst/>
          </a:prstGeom>
        </p:spPr>
      </p:pic>
      <p:pic>
        <p:nvPicPr>
          <p:cNvPr id="330" name="Grafik 329" descr="Cmd (Terminal) Silhouette">
            <a:extLst>
              <a:ext uri="{FF2B5EF4-FFF2-40B4-BE49-F238E27FC236}">
                <a16:creationId xmlns:a16="http://schemas.microsoft.com/office/drawing/2014/main" id="{F4DE734E-1C59-2857-75AC-F88EB1182DC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221687"/>
            <a:ext cx="193532" cy="193532"/>
          </a:xfrm>
          <a:prstGeom prst="rect">
            <a:avLst/>
          </a:prstGeom>
        </p:spPr>
      </p:pic>
      <p:pic>
        <p:nvPicPr>
          <p:cNvPr id="331" name="Grafik 330" descr="Cmd (Terminal) Silhouette">
            <a:extLst>
              <a:ext uri="{FF2B5EF4-FFF2-40B4-BE49-F238E27FC236}">
                <a16:creationId xmlns:a16="http://schemas.microsoft.com/office/drawing/2014/main" id="{A2158836-2AFE-4401-68F2-65D149DF3B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5617" y="3067662"/>
            <a:ext cx="193532" cy="193532"/>
          </a:xfrm>
          <a:prstGeom prst="rect">
            <a:avLst/>
          </a:prstGeom>
        </p:spPr>
      </p:pic>
      <p:pic>
        <p:nvPicPr>
          <p:cNvPr id="332" name="Grafik 331" descr="Cmd (Terminal) Silhouette">
            <a:extLst>
              <a:ext uri="{FF2B5EF4-FFF2-40B4-BE49-F238E27FC236}">
                <a16:creationId xmlns:a16="http://schemas.microsoft.com/office/drawing/2014/main" id="{C8F1C8B6-1225-6A3E-2DC9-7365500716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930574"/>
            <a:ext cx="193532" cy="193532"/>
          </a:xfrm>
          <a:prstGeom prst="rect">
            <a:avLst/>
          </a:prstGeom>
        </p:spPr>
      </p:pic>
      <p:pic>
        <p:nvPicPr>
          <p:cNvPr id="333" name="Grafik 332" descr="Cmd (Terminal) Silhouette">
            <a:extLst>
              <a:ext uri="{FF2B5EF4-FFF2-40B4-BE49-F238E27FC236}">
                <a16:creationId xmlns:a16="http://schemas.microsoft.com/office/drawing/2014/main" id="{A3439D34-A24E-D74A-DDBA-4936FCAD0B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6" y="2795490"/>
            <a:ext cx="193532" cy="193532"/>
          </a:xfrm>
          <a:prstGeom prst="rect">
            <a:avLst/>
          </a:prstGeom>
        </p:spPr>
      </p:pic>
      <p:pic>
        <p:nvPicPr>
          <p:cNvPr id="334" name="Grafik 333" descr="Cmd (Terminal) Silhouette">
            <a:extLst>
              <a:ext uri="{FF2B5EF4-FFF2-40B4-BE49-F238E27FC236}">
                <a16:creationId xmlns:a16="http://schemas.microsoft.com/office/drawing/2014/main" id="{3B9CBF54-C812-3F1E-1068-533BA7EE1D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5615" y="2660029"/>
            <a:ext cx="193532" cy="193532"/>
          </a:xfrm>
          <a:prstGeom prst="rect">
            <a:avLst/>
          </a:prstGeom>
        </p:spPr>
      </p:pic>
      <p:cxnSp>
        <p:nvCxnSpPr>
          <p:cNvPr id="335" name="Gerader Verbinder 334">
            <a:extLst>
              <a:ext uri="{FF2B5EF4-FFF2-40B4-BE49-F238E27FC236}">
                <a16:creationId xmlns:a16="http://schemas.microsoft.com/office/drawing/2014/main" id="{D393D81A-D09E-4D09-2DD8-D201172ACF9E}"/>
              </a:ext>
            </a:extLst>
          </p:cNvPr>
          <p:cNvCxnSpPr/>
          <p:nvPr/>
        </p:nvCxnSpPr>
        <p:spPr>
          <a:xfrm>
            <a:off x="2557352" y="444896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6" name="Gerader Verbinder 335">
            <a:extLst>
              <a:ext uri="{FF2B5EF4-FFF2-40B4-BE49-F238E27FC236}">
                <a16:creationId xmlns:a16="http://schemas.microsoft.com/office/drawing/2014/main" id="{6DCA30AF-88CC-D453-2216-924FE57969EA}"/>
              </a:ext>
            </a:extLst>
          </p:cNvPr>
          <p:cNvCxnSpPr>
            <a:cxnSpLocks/>
          </p:cNvCxnSpPr>
          <p:nvPr/>
        </p:nvCxnSpPr>
        <p:spPr>
          <a:xfrm>
            <a:off x="5181600" y="4396779"/>
            <a:ext cx="9842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D12BCAF-0D60-F19E-062C-1819648FAD03}"/>
              </a:ext>
            </a:extLst>
          </p:cNvPr>
          <p:cNvCxnSpPr/>
          <p:nvPr/>
        </p:nvCxnSpPr>
        <p:spPr>
          <a:xfrm>
            <a:off x="8155264" y="44419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8" name="Textfeld 337">
            <a:extLst>
              <a:ext uri="{FF2B5EF4-FFF2-40B4-BE49-F238E27FC236}">
                <a16:creationId xmlns:a16="http://schemas.microsoft.com/office/drawing/2014/main" id="{6B032FE4-378D-249D-AC9F-EB30558E9C81}"/>
              </a:ext>
            </a:extLst>
          </p:cNvPr>
          <p:cNvSpPr txBox="1"/>
          <p:nvPr/>
        </p:nvSpPr>
        <p:spPr>
          <a:xfrm>
            <a:off x="2518899" y="4438441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39" name="Textfeld 338">
            <a:extLst>
              <a:ext uri="{FF2B5EF4-FFF2-40B4-BE49-F238E27FC236}">
                <a16:creationId xmlns:a16="http://schemas.microsoft.com/office/drawing/2014/main" id="{3F04C59C-45E6-F363-74FD-8C89FD9706C9}"/>
              </a:ext>
            </a:extLst>
          </p:cNvPr>
          <p:cNvSpPr txBox="1"/>
          <p:nvPr/>
        </p:nvSpPr>
        <p:spPr>
          <a:xfrm>
            <a:off x="8110356" y="4466250"/>
            <a:ext cx="8467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 Stock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0" name="Textfeld 339">
            <a:extLst>
              <a:ext uri="{FF2B5EF4-FFF2-40B4-BE49-F238E27FC236}">
                <a16:creationId xmlns:a16="http://schemas.microsoft.com/office/drawing/2014/main" id="{F4A9599E-14BC-9C22-98C9-A443319CAB6F}"/>
              </a:ext>
            </a:extLst>
          </p:cNvPr>
          <p:cNvSpPr txBox="1"/>
          <p:nvPr/>
        </p:nvSpPr>
        <p:spPr>
          <a:xfrm>
            <a:off x="5051032" y="4426585"/>
            <a:ext cx="11945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elivery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Information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1" name="Geschweifte Klammer links 340">
            <a:extLst>
              <a:ext uri="{FF2B5EF4-FFF2-40B4-BE49-F238E27FC236}">
                <a16:creationId xmlns:a16="http://schemas.microsoft.com/office/drawing/2014/main" id="{3E55337E-FCB1-D888-A298-196891B3C8F2}"/>
              </a:ext>
            </a:extLst>
          </p:cNvPr>
          <p:cNvSpPr/>
          <p:nvPr/>
        </p:nvSpPr>
        <p:spPr>
          <a:xfrm>
            <a:off x="8923783" y="2576712"/>
            <a:ext cx="267311" cy="1289070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Textfeld 341">
            <a:extLst>
              <a:ext uri="{FF2B5EF4-FFF2-40B4-BE49-F238E27FC236}">
                <a16:creationId xmlns:a16="http://schemas.microsoft.com/office/drawing/2014/main" id="{112639DB-7C00-40FD-1213-B299C5AB1120}"/>
              </a:ext>
            </a:extLst>
          </p:cNvPr>
          <p:cNvSpPr txBox="1"/>
          <p:nvPr/>
        </p:nvSpPr>
        <p:spPr>
          <a:xfrm>
            <a:off x="8153332" y="3089910"/>
            <a:ext cx="739305" cy="2308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3" name="Geschweifte Klammer links 342">
            <a:extLst>
              <a:ext uri="{FF2B5EF4-FFF2-40B4-BE49-F238E27FC236}">
                <a16:creationId xmlns:a16="http://schemas.microsoft.com/office/drawing/2014/main" id="{1EF3C054-0E1F-BDCD-3175-6489E737C07B}"/>
              </a:ext>
            </a:extLst>
          </p:cNvPr>
          <p:cNvSpPr/>
          <p:nvPr/>
        </p:nvSpPr>
        <p:spPr>
          <a:xfrm flipH="1">
            <a:off x="2062593" y="2637255"/>
            <a:ext cx="267311" cy="1198132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4" name="Textfeld 343">
            <a:extLst>
              <a:ext uri="{FF2B5EF4-FFF2-40B4-BE49-F238E27FC236}">
                <a16:creationId xmlns:a16="http://schemas.microsoft.com/office/drawing/2014/main" id="{0CE4FE0C-3A1C-3D32-82B9-8278FE02A490}"/>
              </a:ext>
            </a:extLst>
          </p:cNvPr>
          <p:cNvSpPr txBox="1"/>
          <p:nvPr/>
        </p:nvSpPr>
        <p:spPr>
          <a:xfrm>
            <a:off x="2382386" y="3095488"/>
            <a:ext cx="11721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Planned Production</a:t>
            </a:r>
          </a:p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Output [t]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345" name="Pfeil: nach unten 344">
            <a:extLst>
              <a:ext uri="{FF2B5EF4-FFF2-40B4-BE49-F238E27FC236}">
                <a16:creationId xmlns:a16="http://schemas.microsoft.com/office/drawing/2014/main" id="{F4D27E84-2586-8A6E-C9EC-0667FF6518FE}"/>
              </a:ext>
            </a:extLst>
          </p:cNvPr>
          <p:cNvSpPr/>
          <p:nvPr/>
        </p:nvSpPr>
        <p:spPr>
          <a:xfrm>
            <a:off x="1613441" y="2795490"/>
            <a:ext cx="108728" cy="1031879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Pfeil: nach unten 345">
            <a:extLst>
              <a:ext uri="{FF2B5EF4-FFF2-40B4-BE49-F238E27FC236}">
                <a16:creationId xmlns:a16="http://schemas.microsoft.com/office/drawing/2014/main" id="{4D0941D4-16BC-ED30-DB82-810D71C96F9A}"/>
              </a:ext>
            </a:extLst>
          </p:cNvPr>
          <p:cNvSpPr/>
          <p:nvPr/>
        </p:nvSpPr>
        <p:spPr>
          <a:xfrm>
            <a:off x="9489824" y="2730062"/>
            <a:ext cx="108728" cy="115200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7" name="Ellipse 346">
            <a:extLst>
              <a:ext uri="{FF2B5EF4-FFF2-40B4-BE49-F238E27FC236}">
                <a16:creationId xmlns:a16="http://schemas.microsoft.com/office/drawing/2014/main" id="{A3511161-D4D0-C206-7146-EEDA0CD49F0E}"/>
              </a:ext>
            </a:extLst>
          </p:cNvPr>
          <p:cNvSpPr/>
          <p:nvPr/>
        </p:nvSpPr>
        <p:spPr>
          <a:xfrm>
            <a:off x="7985244" y="3115228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8" name="Ellipse 347">
            <a:extLst>
              <a:ext uri="{FF2B5EF4-FFF2-40B4-BE49-F238E27FC236}">
                <a16:creationId xmlns:a16="http://schemas.microsoft.com/office/drawing/2014/main" id="{25D22EF2-E527-DDAD-57BF-B39D9CB0497B}"/>
              </a:ext>
            </a:extLst>
          </p:cNvPr>
          <p:cNvSpPr/>
          <p:nvPr/>
        </p:nvSpPr>
        <p:spPr>
          <a:xfrm>
            <a:off x="3511734" y="3115892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9" name="Ellipse 348">
            <a:extLst>
              <a:ext uri="{FF2B5EF4-FFF2-40B4-BE49-F238E27FC236}">
                <a16:creationId xmlns:a16="http://schemas.microsoft.com/office/drawing/2014/main" id="{8F6C6138-CFE0-B614-8023-B658B052C957}"/>
              </a:ext>
            </a:extLst>
          </p:cNvPr>
          <p:cNvSpPr/>
          <p:nvPr/>
        </p:nvSpPr>
        <p:spPr>
          <a:xfrm>
            <a:off x="2366305" y="4466250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3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0" name="Ellipse 349">
            <a:extLst>
              <a:ext uri="{FF2B5EF4-FFF2-40B4-BE49-F238E27FC236}">
                <a16:creationId xmlns:a16="http://schemas.microsoft.com/office/drawing/2014/main" id="{1CE464BA-B6C3-F02D-4197-478F1FB4DDBE}"/>
              </a:ext>
            </a:extLst>
          </p:cNvPr>
          <p:cNvSpPr/>
          <p:nvPr/>
        </p:nvSpPr>
        <p:spPr>
          <a:xfrm>
            <a:off x="7971761" y="4493933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4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Ellipse 350">
            <a:extLst>
              <a:ext uri="{FF2B5EF4-FFF2-40B4-BE49-F238E27FC236}">
                <a16:creationId xmlns:a16="http://schemas.microsoft.com/office/drawing/2014/main" id="{867332CA-9476-6D8F-EB05-8E20204A1EBA}"/>
              </a:ext>
            </a:extLst>
          </p:cNvPr>
          <p:cNvSpPr/>
          <p:nvPr/>
        </p:nvSpPr>
        <p:spPr>
          <a:xfrm>
            <a:off x="4884726" y="44586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5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2" name="Gerader Verbinder 351">
            <a:extLst>
              <a:ext uri="{FF2B5EF4-FFF2-40B4-BE49-F238E27FC236}">
                <a16:creationId xmlns:a16="http://schemas.microsoft.com/office/drawing/2014/main" id="{CB294E61-03D3-2615-3D50-495530721BFE}"/>
              </a:ext>
            </a:extLst>
          </p:cNvPr>
          <p:cNvCxnSpPr>
            <a:cxnSpLocks/>
          </p:cNvCxnSpPr>
          <p:nvPr/>
        </p:nvCxnSpPr>
        <p:spPr>
          <a:xfrm>
            <a:off x="5495115" y="2935338"/>
            <a:ext cx="984250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353" name="Ellipse 352">
            <a:extLst>
              <a:ext uri="{FF2B5EF4-FFF2-40B4-BE49-F238E27FC236}">
                <a16:creationId xmlns:a16="http://schemas.microsoft.com/office/drawing/2014/main" id="{6F68EC82-21F0-E237-3338-15A12B4EFEF0}"/>
              </a:ext>
            </a:extLst>
          </p:cNvPr>
          <p:cNvSpPr/>
          <p:nvPr/>
        </p:nvSpPr>
        <p:spPr>
          <a:xfrm>
            <a:off x="5094850" y="294950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6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4" name="Textfeld 353">
            <a:extLst>
              <a:ext uri="{FF2B5EF4-FFF2-40B4-BE49-F238E27FC236}">
                <a16:creationId xmlns:a16="http://schemas.microsoft.com/office/drawing/2014/main" id="{BECEF0C3-5054-75E7-D680-58611F6FAF7F}"/>
              </a:ext>
            </a:extLst>
          </p:cNvPr>
          <p:cNvSpPr txBox="1"/>
          <p:nvPr/>
        </p:nvSpPr>
        <p:spPr>
          <a:xfrm>
            <a:off x="5232879" y="2932906"/>
            <a:ext cx="152798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SC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disruption</a:t>
            </a:r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900" dirty="0" err="1">
                <a:solidFill>
                  <a:schemeClr val="bg1"/>
                </a:solidFill>
                <a:latin typeface="Aptos" panose="02110004020202020204"/>
              </a:rPr>
              <a:t>Notifications</a:t>
            </a:r>
            <a:endParaRPr lang="de-DE" dirty="0">
              <a:solidFill>
                <a:schemeClr val="bg1"/>
              </a:solidFill>
              <a:latin typeface="Aptos" panose="02110004020202020204"/>
            </a:endParaRPr>
          </a:p>
        </p:txBody>
      </p:sp>
      <p:pic>
        <p:nvPicPr>
          <p:cNvPr id="355" name="Grafik 354" descr="Chat Silhouette">
            <a:extLst>
              <a:ext uri="{FF2B5EF4-FFF2-40B4-BE49-F238E27FC236}">
                <a16:creationId xmlns:a16="http://schemas.microsoft.com/office/drawing/2014/main" id="{245B98A7-81FF-D4D2-BDAB-C7CC81B54E3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683845" y="2425969"/>
            <a:ext cx="606790" cy="606790"/>
          </a:xfrm>
          <a:prstGeom prst="rect">
            <a:avLst/>
          </a:prstGeom>
        </p:spPr>
      </p:pic>
      <p:sp>
        <p:nvSpPr>
          <p:cNvPr id="356" name="Pfeil: nach rechts 355">
            <a:extLst>
              <a:ext uri="{FF2B5EF4-FFF2-40B4-BE49-F238E27FC236}">
                <a16:creationId xmlns:a16="http://schemas.microsoft.com/office/drawing/2014/main" id="{85F17204-486F-637D-04DD-6E3E6DB2426D}"/>
              </a:ext>
            </a:extLst>
          </p:cNvPr>
          <p:cNvSpPr/>
          <p:nvPr/>
        </p:nvSpPr>
        <p:spPr>
          <a:xfrm>
            <a:off x="6280676" y="2653884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7" name="Pfeil: nach rechts 356">
            <a:extLst>
              <a:ext uri="{FF2B5EF4-FFF2-40B4-BE49-F238E27FC236}">
                <a16:creationId xmlns:a16="http://schemas.microsoft.com/office/drawing/2014/main" id="{C00F7C9F-E3F5-8582-D348-7425E2B62A8A}"/>
              </a:ext>
            </a:extLst>
          </p:cNvPr>
          <p:cNvSpPr/>
          <p:nvPr/>
        </p:nvSpPr>
        <p:spPr>
          <a:xfrm flipH="1">
            <a:off x="5382129" y="2642019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8" name="Pfeil: nach rechts 357">
            <a:extLst>
              <a:ext uri="{FF2B5EF4-FFF2-40B4-BE49-F238E27FC236}">
                <a16:creationId xmlns:a16="http://schemas.microsoft.com/office/drawing/2014/main" id="{5A7DFCD8-0D8C-8D6C-AD4F-CDD130394D04}"/>
              </a:ext>
            </a:extLst>
          </p:cNvPr>
          <p:cNvSpPr/>
          <p:nvPr/>
        </p:nvSpPr>
        <p:spPr>
          <a:xfrm>
            <a:off x="2160580" y="4207815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Pfeil: nach rechts 358">
            <a:extLst>
              <a:ext uri="{FF2B5EF4-FFF2-40B4-BE49-F238E27FC236}">
                <a16:creationId xmlns:a16="http://schemas.microsoft.com/office/drawing/2014/main" id="{A1B1E1FC-A6DD-D11D-F5F2-E2B424B992D9}"/>
              </a:ext>
            </a:extLst>
          </p:cNvPr>
          <p:cNvSpPr/>
          <p:nvPr/>
        </p:nvSpPr>
        <p:spPr>
          <a:xfrm>
            <a:off x="3432175" y="4225923"/>
            <a:ext cx="125412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Pfeil: nach rechts 359">
            <a:extLst>
              <a:ext uri="{FF2B5EF4-FFF2-40B4-BE49-F238E27FC236}">
                <a16:creationId xmlns:a16="http://schemas.microsoft.com/office/drawing/2014/main" id="{39F339CD-3AEC-526E-A420-E41A64841829}"/>
              </a:ext>
            </a:extLst>
          </p:cNvPr>
          <p:cNvSpPr/>
          <p:nvPr/>
        </p:nvSpPr>
        <p:spPr>
          <a:xfrm>
            <a:off x="6400799" y="4213164"/>
            <a:ext cx="1425575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1" name="Pfeil: nach rechts 360">
            <a:extLst>
              <a:ext uri="{FF2B5EF4-FFF2-40B4-BE49-F238E27FC236}">
                <a16:creationId xmlns:a16="http://schemas.microsoft.com/office/drawing/2014/main" id="{69FA33B3-2E03-0C88-C1AB-3E7CEE7D1C48}"/>
              </a:ext>
            </a:extLst>
          </p:cNvPr>
          <p:cNvSpPr/>
          <p:nvPr/>
        </p:nvSpPr>
        <p:spPr>
          <a:xfrm>
            <a:off x="8787044" y="4225923"/>
            <a:ext cx="273478" cy="135461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2" name="Ellipse 361">
            <a:extLst>
              <a:ext uri="{FF2B5EF4-FFF2-40B4-BE49-F238E27FC236}">
                <a16:creationId xmlns:a16="http://schemas.microsoft.com/office/drawing/2014/main" id="{4B098CF5-5FE6-296B-638F-359B1C69DD8D}"/>
              </a:ext>
            </a:extLst>
          </p:cNvPr>
          <p:cNvSpPr/>
          <p:nvPr/>
        </p:nvSpPr>
        <p:spPr>
          <a:xfrm>
            <a:off x="1167456" y="4990397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3" name="Ellipse 362">
            <a:extLst>
              <a:ext uri="{FF2B5EF4-FFF2-40B4-BE49-F238E27FC236}">
                <a16:creationId xmlns:a16="http://schemas.microsoft.com/office/drawing/2014/main" id="{50C3373B-296A-2BC3-2B74-1DCAFFCDE408}"/>
              </a:ext>
            </a:extLst>
          </p:cNvPr>
          <p:cNvSpPr/>
          <p:nvPr/>
        </p:nvSpPr>
        <p:spPr>
          <a:xfrm>
            <a:off x="1422941" y="4986385"/>
            <a:ext cx="190500" cy="1905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4" name="Rechteck: abgerundete Ecken 363">
            <a:extLst>
              <a:ext uri="{FF2B5EF4-FFF2-40B4-BE49-F238E27FC236}">
                <a16:creationId xmlns:a16="http://schemas.microsoft.com/office/drawing/2014/main" id="{46003F7A-6830-EA1E-E32B-A78C674A5997}"/>
              </a:ext>
            </a:extLst>
          </p:cNvPr>
          <p:cNvSpPr/>
          <p:nvPr/>
        </p:nvSpPr>
        <p:spPr>
          <a:xfrm>
            <a:off x="1151900" y="2347180"/>
            <a:ext cx="750956" cy="178025"/>
          </a:xfrm>
          <a:prstGeom prst="round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URIS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0D7143B-BA0B-9083-DDFC-D5AAEE4C516B}"/>
              </a:ext>
            </a:extLst>
          </p:cNvPr>
          <p:cNvCxnSpPr/>
          <p:nvPr/>
        </p:nvCxnSpPr>
        <p:spPr>
          <a:xfrm flipH="1">
            <a:off x="1437867" y="6031536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98C8701-0857-512E-7690-D4B78C27CCC7}"/>
              </a:ext>
            </a:extLst>
          </p:cNvPr>
          <p:cNvCxnSpPr/>
          <p:nvPr/>
        </p:nvCxnSpPr>
        <p:spPr>
          <a:xfrm flipH="1">
            <a:off x="1431038" y="5769347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68AE92E-B9DB-29D2-AD1C-E257ECCCF377}"/>
              </a:ext>
            </a:extLst>
          </p:cNvPr>
          <p:cNvCxnSpPr/>
          <p:nvPr/>
        </p:nvCxnSpPr>
        <p:spPr>
          <a:xfrm flipH="1">
            <a:off x="1437867" y="5524493"/>
            <a:ext cx="9716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FDB92B73-621C-BA02-A532-719CE0A08779}"/>
              </a:ext>
            </a:extLst>
          </p:cNvPr>
          <p:cNvSpPr txBox="1"/>
          <p:nvPr/>
        </p:nvSpPr>
        <p:spPr>
          <a:xfrm>
            <a:off x="11314744" y="5466679"/>
            <a:ext cx="190500" cy="567964"/>
          </a:xfrm>
          <a:prstGeom prst="rect">
            <a:avLst/>
          </a:prstGeom>
        </p:spPr>
        <p:txBody>
          <a:bodyPr vert="eaVert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today</a:t>
            </a:r>
          </a:p>
        </p:txBody>
      </p:sp>
    </p:spTree>
    <p:extLst>
      <p:ext uri="{BB962C8B-B14F-4D97-AF65-F5344CB8AC3E}">
        <p14:creationId xmlns:p14="http://schemas.microsoft.com/office/powerpoint/2010/main" val="1338954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AC8770-31C2-FC38-9075-7691C5E66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565019FC-A3A7-3EF2-58BF-4C2526DC97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73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5019FC-A3A7-3EF2-58BF-4C2526DC9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31B5F482-AA47-47AF-307C-28DBA3A05BFF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FD9A7DA7-E7A3-601F-AAFA-2013A5FEFB8B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7E87ADD-4C40-3BD4-C3CA-EB7CFC955AAE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5BC4E3D-92A0-FF5C-AF9F-E89CAB6CCD31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11A3DBA-BDBB-E679-8489-EF6D2D3E1E6D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C10C2B11-EFF8-A3E2-DE3E-5B0433A99235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09E44844-3209-4783-FC7B-047ACE289A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DAFC59D6-6FF0-1B3A-46A7-BBB18763100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790D9CDC-82F9-5B64-4EA2-769521AE3A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D87D90A-ED18-4CF4-380E-7EBBAF50617C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4204FF85-93CF-FCAC-0E5D-98C73CFE2F2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5B7F8079-27DA-1FD2-7ABB-25037B0F130B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2AEA749-31FE-21F7-FD3B-D520AF1FAB5E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4574765-8E86-B56C-1131-B48A6087E4BB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BD6A72B-CDF9-03AC-0551-B83CBD414162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A4CA2732-53CF-D1AF-6A89-2ACD65B11739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0A73F7CB-DC5A-1188-F736-96604654DF22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E2AB6CD-E03F-E223-7CE1-B1AE4FE4BEBD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0A013A7-BB5B-702D-90C7-8A462FF87D76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1B97FEFB-BB34-696F-95A8-120EDFAFB467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1315F72F-0B00-E6CA-C96B-A27B6A06E260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17383F1-52BD-E1B5-2683-2CE63A6FA281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68D76CA-FB94-8AE1-A39E-5DDD5A24914B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E37DA957-E7A5-A298-23ED-751191994544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72FBF1DA-FA5E-F89D-F3F0-9B7D73C9ADAA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5D71188-EE87-4013-770D-9FD7617C974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AD7C57B-A662-B730-DFA8-C01B8418861B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30AD201-D89D-A561-C53B-32987CD4D178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171C301-51AC-0F24-DD9B-FB384557B1B1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820EC4A9-3DC1-0A9F-336A-C2F9928BF9FE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5596FA6-4EDF-B141-4E0B-0D83F5C23E0D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4616D861-6028-E80D-AADE-95FBFF665DD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D35271A3-7259-4C44-04E6-805F7442D4B1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9DC15D47-03D0-15C7-7CE1-6BF1855B0A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EA5891CD-26E4-1EBE-AC88-D62A1588FC95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0EAFC93-80E9-4020-E996-A87EEAFC7682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6E6EC9E-21F6-7C4E-98C1-42095ACAC9C0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72CE51DD-ED30-EC7C-154E-48FEB8540CE4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BAC6D4D1-9E78-5B9A-319A-609AB71431BC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238DC87C-7A97-C4DC-7C4B-569E5AC15417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7A9FE90-270D-DE7E-3C26-30A90C8A9C63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57E23A6D-69B3-1A1B-11C9-40E40DE57BC7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ED479E8-A984-40E8-A86B-18858B236F88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8B30A294-8269-4473-09E8-A6BB14145C3E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0BB10397-D2D0-0952-D8A1-A84108F3E631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559E1A72-B4E0-7489-1FF6-75493FC8258B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5BE83EB-C88A-6298-DA95-564D9076BD76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097F260-76D8-96DC-7988-12690FEF78B0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93B7B05F-71B2-1F64-5722-A9993CED743E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BCFCDE8-7465-0C8A-BA31-F4790E7372B6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CF711E8-2E0D-C4A0-CFEA-525EF0733418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47773F0A-1D94-FA76-478D-A454DFF73642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B5E42231-EA8F-7566-D114-FC1745F9F87C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ECBF1885-196E-6088-F129-FCA09C905C86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54C5124F-A676-AF8B-0E7F-F202D1E4CE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66279633-D542-46BD-3E34-325946D0706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E1480B33-7F4C-819A-8923-D424462C4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39487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F5AA870A-FF36-43B4-A336-E35AB0DD0C21}"/>
              </a:ext>
            </a:extLst>
          </p:cNvPr>
          <p:cNvSpPr txBox="1"/>
          <p:nvPr/>
        </p:nvSpPr>
        <p:spPr>
          <a:xfrm>
            <a:off x="4299179" y="653779"/>
            <a:ext cx="3891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Supplier | Single Customer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4F18251E-D61B-0B4F-9331-E0EB8B7D1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416AC08-AABC-3A34-0BC8-265460A4C0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6DA9B4E5-8C86-7A23-560C-A53716360CD7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66E46CA1-E516-A83F-5220-1C8140A574A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1AF9D9E-3157-63C2-8F21-CDCE3C93D36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6BCAB0C4-7F22-9DB1-1840-4FF98BED688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526275" y="223082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2C08C31A-C8B3-7D2F-C9DB-B7D12CC23D3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4611703-C295-FDD2-64D1-30B12410B44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6C0150C2-2980-F80E-E055-C28768506BB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E265E448-496B-F970-85CF-D93566E4ACB3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44F8DDBB-B6DC-32DE-6F03-C3F4A9D8305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3506377F-F492-4275-D66D-CC1FD5F260B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D9E93EF8-1683-CD6B-632B-A9186F55B9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3CE9ECFA-14D0-2FDB-CA47-9248243952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9C872ADF-2081-0BDE-8791-B799CAA7852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3E1F76F-DC59-E941-CF15-B92B402103D4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ACE1BB1-28B3-FC62-B66A-0A1531BB5387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F14C610D-9A53-B55E-992A-CB6E11068BC0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13F3756-1A8E-D405-CA4C-57A394FEE7A0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0B74DB53-CA5A-A8BF-F4B0-5F5735DA171A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54A1A74E-00F8-AA6A-F708-ADC422EBFE1B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B0B05565-A25A-CA2B-09C4-F285DBDB6F2E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130D3A6-A400-3570-E088-AF8CE6A8FAB1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49CD5EE-1858-6DEB-39B3-60F17A295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5" name="Pfeil: nach rechts 84">
            <a:extLst>
              <a:ext uri="{FF2B5EF4-FFF2-40B4-BE49-F238E27FC236}">
                <a16:creationId xmlns:a16="http://schemas.microsoft.com/office/drawing/2014/main" id="{0D160339-6705-0599-C57D-2EC32B0048EE}"/>
              </a:ext>
            </a:extLst>
          </p:cNvPr>
          <p:cNvSpPr/>
          <p:nvPr/>
        </p:nvSpPr>
        <p:spPr>
          <a:xfrm>
            <a:off x="4950614" y="4237851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86" name="Grafik 85" descr="Cmd (Terminal) Silhouette">
            <a:extLst>
              <a:ext uri="{FF2B5EF4-FFF2-40B4-BE49-F238E27FC236}">
                <a16:creationId xmlns:a16="http://schemas.microsoft.com/office/drawing/2014/main" id="{8035DFCA-69A3-FF4F-9968-BA4BA5FF54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65180" y="4277272"/>
            <a:ext cx="193532" cy="193532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29519FFF-6D53-2D6B-E560-4413A365B6F8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F27F449-426B-228C-CE48-D6A2672DA522}"/>
              </a:ext>
            </a:extLst>
          </p:cNvPr>
          <p:cNvSpPr/>
          <p:nvPr/>
        </p:nvSpPr>
        <p:spPr>
          <a:xfrm>
            <a:off x="6671385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5E11CE44-29F0-3285-3543-F91DCB047601}"/>
              </a:ext>
            </a:extLst>
          </p:cNvPr>
          <p:cNvSpPr/>
          <p:nvPr/>
        </p:nvSpPr>
        <p:spPr>
          <a:xfrm>
            <a:off x="667138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8EC05D8-E246-4D10-1388-B409A4AA4341}"/>
              </a:ext>
            </a:extLst>
          </p:cNvPr>
          <p:cNvSpPr/>
          <p:nvPr/>
        </p:nvSpPr>
        <p:spPr>
          <a:xfrm>
            <a:off x="6730765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84A042B2-A06D-067C-46B6-75A832E06D22}"/>
              </a:ext>
            </a:extLst>
          </p:cNvPr>
          <p:cNvCxnSpPr/>
          <p:nvPr/>
        </p:nvCxnSpPr>
        <p:spPr>
          <a:xfrm>
            <a:off x="6671385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1F4FB431-11CB-FBCC-0F8C-B71070F7A073}"/>
              </a:ext>
            </a:extLst>
          </p:cNvPr>
          <p:cNvSpPr/>
          <p:nvPr/>
        </p:nvSpPr>
        <p:spPr>
          <a:xfrm>
            <a:off x="6915518" y="4248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899872C-BFBA-105D-0EC3-49E78CCFCFFB}"/>
              </a:ext>
            </a:extLst>
          </p:cNvPr>
          <p:cNvSpPr/>
          <p:nvPr/>
        </p:nvSpPr>
        <p:spPr>
          <a:xfrm>
            <a:off x="691551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66AB90F1-1833-9B2C-310B-4FBEBE0D06FB}"/>
              </a:ext>
            </a:extLst>
          </p:cNvPr>
          <p:cNvSpPr/>
          <p:nvPr/>
        </p:nvSpPr>
        <p:spPr>
          <a:xfrm>
            <a:off x="6974898" y="4334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DA5BAB4A-303B-1138-6E35-C8B0A6761C88}"/>
              </a:ext>
            </a:extLst>
          </p:cNvPr>
          <p:cNvCxnSpPr/>
          <p:nvPr/>
        </p:nvCxnSpPr>
        <p:spPr>
          <a:xfrm>
            <a:off x="6915518" y="4332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6" name="Rechteck 95">
            <a:extLst>
              <a:ext uri="{FF2B5EF4-FFF2-40B4-BE49-F238E27FC236}">
                <a16:creationId xmlns:a16="http://schemas.microsoft.com/office/drawing/2014/main" id="{5DE5F7AE-71EE-5ECD-7440-4C4362352A98}"/>
              </a:ext>
            </a:extLst>
          </p:cNvPr>
          <p:cNvSpPr/>
          <p:nvPr/>
        </p:nvSpPr>
        <p:spPr>
          <a:xfrm>
            <a:off x="6790119" y="42537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0D369A3-8620-9899-4DFD-15C952FB4C7D}"/>
              </a:ext>
            </a:extLst>
          </p:cNvPr>
          <p:cNvSpPr/>
          <p:nvPr/>
        </p:nvSpPr>
        <p:spPr>
          <a:xfrm>
            <a:off x="679011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D0C83ECE-EA28-CDCD-3B96-A86634B6F17C}"/>
              </a:ext>
            </a:extLst>
          </p:cNvPr>
          <p:cNvSpPr/>
          <p:nvPr/>
        </p:nvSpPr>
        <p:spPr>
          <a:xfrm>
            <a:off x="6849499" y="43397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8584C607-207C-7616-B16A-30F380B4CAE5}"/>
              </a:ext>
            </a:extLst>
          </p:cNvPr>
          <p:cNvCxnSpPr/>
          <p:nvPr/>
        </p:nvCxnSpPr>
        <p:spPr>
          <a:xfrm>
            <a:off x="6790119" y="43376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00" name="Rechteck 99">
            <a:extLst>
              <a:ext uri="{FF2B5EF4-FFF2-40B4-BE49-F238E27FC236}">
                <a16:creationId xmlns:a16="http://schemas.microsoft.com/office/drawing/2014/main" id="{6CB97601-ED07-9A1C-CC19-E2AE50216290}"/>
              </a:ext>
            </a:extLst>
          </p:cNvPr>
          <p:cNvSpPr/>
          <p:nvPr/>
        </p:nvSpPr>
        <p:spPr>
          <a:xfrm>
            <a:off x="6550233" y="42508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19A199CB-3F0D-E5E4-FA7E-A2F65411D55A}"/>
              </a:ext>
            </a:extLst>
          </p:cNvPr>
          <p:cNvSpPr/>
          <p:nvPr/>
        </p:nvSpPr>
        <p:spPr>
          <a:xfrm>
            <a:off x="655023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82329D2-8BCA-0967-F7F1-7D371EBA6263}"/>
              </a:ext>
            </a:extLst>
          </p:cNvPr>
          <p:cNvSpPr/>
          <p:nvPr/>
        </p:nvSpPr>
        <p:spPr>
          <a:xfrm>
            <a:off x="6609613" y="43368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58C10E8-99F4-AAB8-D39C-05F3AE6E3A09}"/>
              </a:ext>
            </a:extLst>
          </p:cNvPr>
          <p:cNvCxnSpPr/>
          <p:nvPr/>
        </p:nvCxnSpPr>
        <p:spPr>
          <a:xfrm>
            <a:off x="6550233" y="43347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B1FBC5E6-663E-0710-548F-BE2ED47D339C}"/>
              </a:ext>
            </a:extLst>
          </p:cNvPr>
          <p:cNvCxnSpPr/>
          <p:nvPr/>
        </p:nvCxnSpPr>
        <p:spPr>
          <a:xfrm>
            <a:off x="6525896" y="43842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5" name="Textfeld 104">
            <a:extLst>
              <a:ext uri="{FF2B5EF4-FFF2-40B4-BE49-F238E27FC236}">
                <a16:creationId xmlns:a16="http://schemas.microsoft.com/office/drawing/2014/main" id="{D761FD34-5D45-89C5-2446-D847EDFA1597}"/>
              </a:ext>
            </a:extLst>
          </p:cNvPr>
          <p:cNvSpPr txBox="1"/>
          <p:nvPr/>
        </p:nvSpPr>
        <p:spPr>
          <a:xfrm>
            <a:off x="6383263" y="437622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50E8F76-E165-40C4-DCC7-76169D9F751C}"/>
              </a:ext>
            </a:extLst>
          </p:cNvPr>
          <p:cNvSpPr/>
          <p:nvPr/>
        </p:nvSpPr>
        <p:spPr>
          <a:xfrm>
            <a:off x="6662170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319508E6-598F-2A79-6E0E-DFDE30BEEC48}"/>
              </a:ext>
            </a:extLst>
          </p:cNvPr>
          <p:cNvSpPr/>
          <p:nvPr/>
        </p:nvSpPr>
        <p:spPr>
          <a:xfrm>
            <a:off x="666217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27746F7D-3208-84C3-8188-289B519B87C7}"/>
              </a:ext>
            </a:extLst>
          </p:cNvPr>
          <p:cNvSpPr/>
          <p:nvPr/>
        </p:nvSpPr>
        <p:spPr>
          <a:xfrm>
            <a:off x="6721550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F798A002-8572-0711-877F-5F5E4842141C}"/>
              </a:ext>
            </a:extLst>
          </p:cNvPr>
          <p:cNvCxnSpPr/>
          <p:nvPr/>
        </p:nvCxnSpPr>
        <p:spPr>
          <a:xfrm>
            <a:off x="6662170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C0198C6A-ED73-3859-A517-71F470308456}"/>
              </a:ext>
            </a:extLst>
          </p:cNvPr>
          <p:cNvSpPr/>
          <p:nvPr/>
        </p:nvSpPr>
        <p:spPr>
          <a:xfrm>
            <a:off x="6541018" y="46174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13F2A6E7-32A5-9771-4747-7AAF029B7D27}"/>
              </a:ext>
            </a:extLst>
          </p:cNvPr>
          <p:cNvSpPr/>
          <p:nvPr/>
        </p:nvSpPr>
        <p:spPr>
          <a:xfrm>
            <a:off x="654101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5BC44F8-BCDF-C4EA-899E-F2C787CC9A6C}"/>
              </a:ext>
            </a:extLst>
          </p:cNvPr>
          <p:cNvSpPr/>
          <p:nvPr/>
        </p:nvSpPr>
        <p:spPr>
          <a:xfrm>
            <a:off x="6600398" y="47035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F1666B8E-7366-7C86-4EC8-3D15588ED9FA}"/>
              </a:ext>
            </a:extLst>
          </p:cNvPr>
          <p:cNvCxnSpPr/>
          <p:nvPr/>
        </p:nvCxnSpPr>
        <p:spPr>
          <a:xfrm>
            <a:off x="6541018" y="47014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5C04AE4F-90B6-34EA-5ECC-2B1282F2C95E}"/>
              </a:ext>
            </a:extLst>
          </p:cNvPr>
          <p:cNvCxnSpPr/>
          <p:nvPr/>
        </p:nvCxnSpPr>
        <p:spPr>
          <a:xfrm>
            <a:off x="6516681" y="47508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15" name="Textfeld 114">
            <a:extLst>
              <a:ext uri="{FF2B5EF4-FFF2-40B4-BE49-F238E27FC236}">
                <a16:creationId xmlns:a16="http://schemas.microsoft.com/office/drawing/2014/main" id="{5187FAE2-001E-1A51-080D-DA2E4DA63F10}"/>
              </a:ext>
            </a:extLst>
          </p:cNvPr>
          <p:cNvSpPr txBox="1"/>
          <p:nvPr/>
        </p:nvSpPr>
        <p:spPr>
          <a:xfrm>
            <a:off x="6374048" y="474289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3ACE0946-426C-F461-61DE-9CCF1B370C84}"/>
              </a:ext>
            </a:extLst>
          </p:cNvPr>
          <p:cNvSpPr/>
          <p:nvPr/>
        </p:nvSpPr>
        <p:spPr>
          <a:xfrm>
            <a:off x="6674809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572B637-622E-60FD-6475-E6FFDC03E61E}"/>
              </a:ext>
            </a:extLst>
          </p:cNvPr>
          <p:cNvSpPr/>
          <p:nvPr/>
        </p:nvSpPr>
        <p:spPr>
          <a:xfrm>
            <a:off x="667480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DBBC3B6-7F5F-94D8-DEC7-A0A008CC2BE1}"/>
              </a:ext>
            </a:extLst>
          </p:cNvPr>
          <p:cNvSpPr/>
          <p:nvPr/>
        </p:nvSpPr>
        <p:spPr>
          <a:xfrm>
            <a:off x="6734189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6950BA6A-B33D-C356-0BA0-3F8B75E311EF}"/>
              </a:ext>
            </a:extLst>
          </p:cNvPr>
          <p:cNvCxnSpPr/>
          <p:nvPr/>
        </p:nvCxnSpPr>
        <p:spPr>
          <a:xfrm>
            <a:off x="6674809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0" name="Rechteck 119">
            <a:extLst>
              <a:ext uri="{FF2B5EF4-FFF2-40B4-BE49-F238E27FC236}">
                <a16:creationId xmlns:a16="http://schemas.microsoft.com/office/drawing/2014/main" id="{FD047EDF-ED21-BAE0-728A-BD980893CCCF}"/>
              </a:ext>
            </a:extLst>
          </p:cNvPr>
          <p:cNvSpPr/>
          <p:nvPr/>
        </p:nvSpPr>
        <p:spPr>
          <a:xfrm>
            <a:off x="6793543" y="49949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C236E7F5-774F-6224-5FE5-2551F555B377}"/>
              </a:ext>
            </a:extLst>
          </p:cNvPr>
          <p:cNvSpPr/>
          <p:nvPr/>
        </p:nvSpPr>
        <p:spPr>
          <a:xfrm>
            <a:off x="679354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BA3BBEA4-35BB-854A-5D7D-D6E89E454A58}"/>
              </a:ext>
            </a:extLst>
          </p:cNvPr>
          <p:cNvSpPr/>
          <p:nvPr/>
        </p:nvSpPr>
        <p:spPr>
          <a:xfrm>
            <a:off x="6852923" y="50809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0757B059-F0B5-FC0C-CDF2-2DFCDD29954D}"/>
              </a:ext>
            </a:extLst>
          </p:cNvPr>
          <p:cNvCxnSpPr/>
          <p:nvPr/>
        </p:nvCxnSpPr>
        <p:spPr>
          <a:xfrm>
            <a:off x="6793543" y="50789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9D0119A2-129B-BB07-F66D-5D9250917137}"/>
              </a:ext>
            </a:extLst>
          </p:cNvPr>
          <p:cNvSpPr/>
          <p:nvPr/>
        </p:nvSpPr>
        <p:spPr>
          <a:xfrm>
            <a:off x="6553657" y="49920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AB29A484-1AA2-11CB-4876-E875844328F8}"/>
              </a:ext>
            </a:extLst>
          </p:cNvPr>
          <p:cNvSpPr/>
          <p:nvPr/>
        </p:nvSpPr>
        <p:spPr>
          <a:xfrm>
            <a:off x="655365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DC4B7E93-8D61-68E4-DB17-16B40B070388}"/>
              </a:ext>
            </a:extLst>
          </p:cNvPr>
          <p:cNvSpPr/>
          <p:nvPr/>
        </p:nvSpPr>
        <p:spPr>
          <a:xfrm>
            <a:off x="6613037" y="50780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EC64C58-02D6-E174-7886-0440FD7FF676}"/>
              </a:ext>
            </a:extLst>
          </p:cNvPr>
          <p:cNvCxnSpPr/>
          <p:nvPr/>
        </p:nvCxnSpPr>
        <p:spPr>
          <a:xfrm>
            <a:off x="6553657" y="50760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3CCD21A3-F5A6-37DF-4A62-12D70CD3091E}"/>
              </a:ext>
            </a:extLst>
          </p:cNvPr>
          <p:cNvCxnSpPr/>
          <p:nvPr/>
        </p:nvCxnSpPr>
        <p:spPr>
          <a:xfrm>
            <a:off x="6529320" y="51254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D880464-7EA0-4974-FBCE-93E1A7522B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3F244F0E-B4F3-B611-EFC8-696089C22E9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19CA8EAE-9C8C-2613-9BF4-1119B46C9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0173126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B0212536-E51E-29E3-0F2F-24B8EAEDAC7F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pic>
        <p:nvPicPr>
          <p:cNvPr id="134" name="Grafik 133" descr="Roboterhand Silhouette">
            <a:extLst>
              <a:ext uri="{FF2B5EF4-FFF2-40B4-BE49-F238E27FC236}">
                <a16:creationId xmlns:a16="http://schemas.microsoft.com/office/drawing/2014/main" id="{3214B60D-21B3-6370-8717-412F739ABB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7202" y="4185487"/>
            <a:ext cx="140737" cy="140737"/>
          </a:xfrm>
          <a:prstGeom prst="rect">
            <a:avLst/>
          </a:prstGeom>
        </p:spPr>
      </p:pic>
      <p:sp>
        <p:nvSpPr>
          <p:cNvPr id="135" name="Textfeld 134">
            <a:extLst>
              <a:ext uri="{FF2B5EF4-FFF2-40B4-BE49-F238E27FC236}">
                <a16:creationId xmlns:a16="http://schemas.microsoft.com/office/drawing/2014/main" id="{EE670705-209F-92DF-9B6A-9563CD2D50A7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2BD906CF-9210-DA6E-212C-95A65698631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73BBA8A0-1B55-03AA-9286-B3198BD8462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pic>
        <p:nvPicPr>
          <p:cNvPr id="138" name="Grafik 137" descr="Schraubenzieher Silhouette">
            <a:extLst>
              <a:ext uri="{FF2B5EF4-FFF2-40B4-BE49-F238E27FC236}">
                <a16:creationId xmlns:a16="http://schemas.microsoft.com/office/drawing/2014/main" id="{19956AA0-4C38-549E-11B1-6B5E75ADFA6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533881" y="4958268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6E951591-27EC-0436-48D0-1C0CAE3B37EB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B1C4E17B-17DB-AC8E-EB4E-05CA44940F06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C8D4864C-DCCA-6E71-EF35-5DABC2491F80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pic>
        <p:nvPicPr>
          <p:cNvPr id="144" name="Grafik 143" descr="Cmd (Terminal) Silhouette">
            <a:extLst>
              <a:ext uri="{FF2B5EF4-FFF2-40B4-BE49-F238E27FC236}">
                <a16:creationId xmlns:a16="http://schemas.microsoft.com/office/drawing/2014/main" id="{763E54D7-79AD-5348-95DA-A18594F637C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8910" y="4643747"/>
            <a:ext cx="193532" cy="193532"/>
          </a:xfrm>
          <a:prstGeom prst="rect">
            <a:avLst/>
          </a:prstGeom>
        </p:spPr>
      </p:pic>
      <p:pic>
        <p:nvPicPr>
          <p:cNvPr id="145" name="Grafik 144" descr="Cmd (Terminal) Silhouette">
            <a:extLst>
              <a:ext uri="{FF2B5EF4-FFF2-40B4-BE49-F238E27FC236}">
                <a16:creationId xmlns:a16="http://schemas.microsoft.com/office/drawing/2014/main" id="{FD0863FE-AF97-429B-83F7-755BF0F17CD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59545" y="5022885"/>
            <a:ext cx="193532" cy="193532"/>
          </a:xfrm>
          <a:prstGeom prst="rect">
            <a:avLst/>
          </a:prstGeom>
        </p:spPr>
      </p:pic>
      <p:pic>
        <p:nvPicPr>
          <p:cNvPr id="146" name="Grafik 145" descr="Roboterhand Silhouette">
            <a:extLst>
              <a:ext uri="{FF2B5EF4-FFF2-40B4-BE49-F238E27FC236}">
                <a16:creationId xmlns:a16="http://schemas.microsoft.com/office/drawing/2014/main" id="{F3DD1490-1897-04D8-4A2C-11BF45CCD7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6696" y="4556437"/>
            <a:ext cx="140737" cy="140737"/>
          </a:xfrm>
          <a:prstGeom prst="rect">
            <a:avLst/>
          </a:prstGeom>
        </p:spPr>
      </p:pic>
      <p:pic>
        <p:nvPicPr>
          <p:cNvPr id="147" name="Grafik 146" descr="Roboterhand Silhouette">
            <a:extLst>
              <a:ext uri="{FF2B5EF4-FFF2-40B4-BE49-F238E27FC236}">
                <a16:creationId xmlns:a16="http://schemas.microsoft.com/office/drawing/2014/main" id="{BD0DA05E-C576-142F-5BB9-03447F979A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0825" y="4932731"/>
            <a:ext cx="140737" cy="140737"/>
          </a:xfrm>
          <a:prstGeom prst="rect">
            <a:avLst/>
          </a:prstGeom>
        </p:spPr>
      </p:pic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001ADD79-9101-B849-3696-EC5375649FA4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E6D07ACF-5582-939A-C2D2-8F24A3A3C437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F956C420-71C1-5BB6-ED67-E37152803096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336B4D57-AEB7-A48A-F415-D8B084AC635B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E1BE90FC-2D3A-B804-9F76-AD17CE5C5416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BA8D97E0-FB49-33FE-4DED-FA124E6B25A9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50906864-F878-8C26-AD49-2BBE28C6DC4E}"/>
              </a:ext>
            </a:extLst>
          </p:cNvPr>
          <p:cNvCxnSpPr/>
          <p:nvPr/>
        </p:nvCxnSpPr>
        <p:spPr>
          <a:xfrm>
            <a:off x="4544551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4E2D69F8-FB90-B1BD-F408-A4BD6C1B0E16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0157CED6-8C48-1EC3-B6E7-B4F011DE1F5F}"/>
              </a:ext>
            </a:extLst>
          </p:cNvPr>
          <p:cNvCxnSpPr>
            <a:cxnSpLocks/>
          </p:cNvCxnSpPr>
          <p:nvPr/>
        </p:nvCxnSpPr>
        <p:spPr>
          <a:xfrm flipV="1">
            <a:off x="4491949" y="449058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4FBF3BEC-F41B-679A-849E-39440340F300}"/>
              </a:ext>
            </a:extLst>
          </p:cNvPr>
          <p:cNvCxnSpPr>
            <a:cxnSpLocks/>
          </p:cNvCxnSpPr>
          <p:nvPr/>
        </p:nvCxnSpPr>
        <p:spPr>
          <a:xfrm flipV="1">
            <a:off x="4491949" y="487476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C180E0BA-D50D-7ED2-82CC-7B6E2321B911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73D1E838-47B1-01AD-23A8-FDF1214AE2EC}"/>
              </a:ext>
            </a:extLst>
          </p:cNvPr>
          <p:cNvSpPr txBox="1"/>
          <p:nvPr/>
        </p:nvSpPr>
        <p:spPr>
          <a:xfrm>
            <a:off x="6211491" y="3738959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44803DEC-47E5-D3BE-EAA3-C5BCC4D95000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E2E2D0F4-3000-B6DA-E13B-BF22F79E9957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B309D8F-A74F-874B-0F8F-2E30A2FBBACB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E3D43DA5-512F-9177-131C-BA933C13BB26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8" name="Textfeld 167">
            <a:extLst>
              <a:ext uri="{FF2B5EF4-FFF2-40B4-BE49-F238E27FC236}">
                <a16:creationId xmlns:a16="http://schemas.microsoft.com/office/drawing/2014/main" id="{9154C380-9703-EC12-98A6-B2D838B412AF}"/>
              </a:ext>
            </a:extLst>
          </p:cNvPr>
          <p:cNvSpPr txBox="1"/>
          <p:nvPr/>
        </p:nvSpPr>
        <p:spPr>
          <a:xfrm>
            <a:off x="6378776" y="509975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9194AC9B-F10A-C6C1-036D-13DF29F78B74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222A2E16-9B81-A9CB-0C3A-34FF9ADF005C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6C21FF9B-A2DB-C682-0908-B59B30E1EF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885C091-62C5-D2F3-EEF4-0C26AAF6909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D51725F7-B9DF-9DFF-1297-F55A98070F9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42E6081B-83B1-16E4-981A-C5FFEAB16061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7646EB3-1D24-E576-F695-1F248D580661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551A77C0-74B6-2166-C076-AD02F0058567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C1A2901-C7DD-7DD1-D6BE-2B2A9DE4EAF6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30FB2790-4BBE-AC1D-37C4-609EC8514700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60BCDAB2-55DC-1A2E-9FD0-E31D5DFAA37E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CB68867E-F57E-5952-00B4-52DC877CFDC7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B042F01B-961C-50C4-B42B-0D896500C8C6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F4FDEE52-3607-9AEC-E84C-98FBAC7B2F5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0506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665BA-37CF-1A0A-5BC0-8E3EE73487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066E93C4-6F66-018E-2812-9353F488BB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E93C4-6F66-018E-2812-9353F488BB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9FA1CC21-5E25-E2CE-178E-7176F2EC41A8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6862207-9895-F36C-8719-A0012B9CF058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2489DC-83AB-07C8-6EE1-E3DE19797203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F8DD2F6A-4D4F-C4D3-3352-BAE8E9334795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8013126-7C73-06CA-420A-7C40B1B418F8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5EA3E4-AC88-B0BB-CB61-CD26B30D4F12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891E0285-024E-5D22-FF61-C266F7E9EC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AA4C878-8C39-7609-502F-3CDE98231FE7}"/>
              </a:ext>
            </a:extLst>
          </p:cNvPr>
          <p:cNvSpPr/>
          <p:nvPr/>
        </p:nvSpPr>
        <p:spPr>
          <a:xfrm>
            <a:off x="4943008" y="151040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1" name="Grafik 10" descr="Cmd (Terminal) Silhouette">
            <a:extLst>
              <a:ext uri="{FF2B5EF4-FFF2-40B4-BE49-F238E27FC236}">
                <a16:creationId xmlns:a16="http://schemas.microsoft.com/office/drawing/2014/main" id="{CDECD6FD-547A-9264-E945-CC0A911EBE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7574" y="1549824"/>
            <a:ext cx="193532" cy="193532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AEDF70E-029C-3218-8AAC-4AACD3E80E53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D510D12A-4E22-3C10-928E-E7874A88F4F8}"/>
              </a:ext>
            </a:extLst>
          </p:cNvPr>
          <p:cNvSpPr/>
          <p:nvPr/>
        </p:nvSpPr>
        <p:spPr>
          <a:xfrm>
            <a:off x="4937331" y="188321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A0C2AD33-D9CC-A664-8AE3-CFADC4CEB951}"/>
              </a:ext>
            </a:extLst>
          </p:cNvPr>
          <p:cNvSpPr/>
          <p:nvPr/>
        </p:nvSpPr>
        <p:spPr>
          <a:xfrm>
            <a:off x="4930688" y="22560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8BE02A5-BB5E-6B52-93EB-76AF4450F77B}"/>
              </a:ext>
            </a:extLst>
          </p:cNvPr>
          <p:cNvSpPr/>
          <p:nvPr/>
        </p:nvSpPr>
        <p:spPr>
          <a:xfrm>
            <a:off x="6663779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69AAFB6-118B-72A3-9ACC-B1EA2CEA622A}"/>
              </a:ext>
            </a:extLst>
          </p:cNvPr>
          <p:cNvSpPr/>
          <p:nvPr/>
        </p:nvSpPr>
        <p:spPr>
          <a:xfrm>
            <a:off x="666377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37FA9AF-1037-4151-EE83-3824D3F9468F}"/>
              </a:ext>
            </a:extLst>
          </p:cNvPr>
          <p:cNvSpPr/>
          <p:nvPr/>
        </p:nvSpPr>
        <p:spPr>
          <a:xfrm>
            <a:off x="6723159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B87B71F-1136-81B2-D073-1A44008DABAE}"/>
              </a:ext>
            </a:extLst>
          </p:cNvPr>
          <p:cNvCxnSpPr/>
          <p:nvPr/>
        </p:nvCxnSpPr>
        <p:spPr>
          <a:xfrm>
            <a:off x="6663779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C2B0D01C-B1DB-40C6-8460-BEB10ABEC306}"/>
              </a:ext>
            </a:extLst>
          </p:cNvPr>
          <p:cNvSpPr/>
          <p:nvPr/>
        </p:nvSpPr>
        <p:spPr>
          <a:xfrm>
            <a:off x="6907912" y="15208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6E6D4DC-F787-421B-F730-130F44EC44F5}"/>
              </a:ext>
            </a:extLst>
          </p:cNvPr>
          <p:cNvSpPr/>
          <p:nvPr/>
        </p:nvSpPr>
        <p:spPr>
          <a:xfrm>
            <a:off x="690791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3442027-F991-88F4-2E12-650A4F67F99D}"/>
              </a:ext>
            </a:extLst>
          </p:cNvPr>
          <p:cNvSpPr/>
          <p:nvPr/>
        </p:nvSpPr>
        <p:spPr>
          <a:xfrm>
            <a:off x="6967292" y="16068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8038B070-A2BD-8CC7-FD15-800276C60C3E}"/>
              </a:ext>
            </a:extLst>
          </p:cNvPr>
          <p:cNvCxnSpPr/>
          <p:nvPr/>
        </p:nvCxnSpPr>
        <p:spPr>
          <a:xfrm>
            <a:off x="6907912" y="16047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B18E89E-33EF-2C48-2647-E0E28E2569F2}"/>
              </a:ext>
            </a:extLst>
          </p:cNvPr>
          <p:cNvSpPr/>
          <p:nvPr/>
        </p:nvSpPr>
        <p:spPr>
          <a:xfrm>
            <a:off x="6782513" y="15262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C58052C-2461-9F2A-97C9-357889447AEE}"/>
              </a:ext>
            </a:extLst>
          </p:cNvPr>
          <p:cNvSpPr/>
          <p:nvPr/>
        </p:nvSpPr>
        <p:spPr>
          <a:xfrm>
            <a:off x="678251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787BC0-7DA6-7B83-A5C7-D75622E7720F}"/>
              </a:ext>
            </a:extLst>
          </p:cNvPr>
          <p:cNvSpPr/>
          <p:nvPr/>
        </p:nvSpPr>
        <p:spPr>
          <a:xfrm>
            <a:off x="6841893" y="16122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BE9392C3-A7F1-DA14-DFA2-8E80F04662BF}"/>
              </a:ext>
            </a:extLst>
          </p:cNvPr>
          <p:cNvCxnSpPr/>
          <p:nvPr/>
        </p:nvCxnSpPr>
        <p:spPr>
          <a:xfrm>
            <a:off x="6782513" y="16102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6BD1EDF9-0375-9B7D-4AF3-BC266E6CAFE0}"/>
              </a:ext>
            </a:extLst>
          </p:cNvPr>
          <p:cNvSpPr/>
          <p:nvPr/>
        </p:nvSpPr>
        <p:spPr>
          <a:xfrm>
            <a:off x="6542627" y="152336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DAFBB75-FA7E-9592-6630-1504C5C4BA70}"/>
              </a:ext>
            </a:extLst>
          </p:cNvPr>
          <p:cNvSpPr/>
          <p:nvPr/>
        </p:nvSpPr>
        <p:spPr>
          <a:xfrm>
            <a:off x="654262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68266216-878B-9EA2-2560-B007E529B244}"/>
              </a:ext>
            </a:extLst>
          </p:cNvPr>
          <p:cNvSpPr/>
          <p:nvPr/>
        </p:nvSpPr>
        <p:spPr>
          <a:xfrm>
            <a:off x="6602007" y="160937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29659754-DC63-ADDE-92AB-CCD6EDD91851}"/>
              </a:ext>
            </a:extLst>
          </p:cNvPr>
          <p:cNvCxnSpPr/>
          <p:nvPr/>
        </p:nvCxnSpPr>
        <p:spPr>
          <a:xfrm>
            <a:off x="6542627" y="160731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8B9BC893-D0FD-38DD-E9C7-60F9A7EB4408}"/>
              </a:ext>
            </a:extLst>
          </p:cNvPr>
          <p:cNvCxnSpPr/>
          <p:nvPr/>
        </p:nvCxnSpPr>
        <p:spPr>
          <a:xfrm>
            <a:off x="6518290" y="165677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75E41D14-D85A-C113-7E95-B4C3FD1C493A}"/>
              </a:ext>
            </a:extLst>
          </p:cNvPr>
          <p:cNvSpPr txBox="1"/>
          <p:nvPr/>
        </p:nvSpPr>
        <p:spPr>
          <a:xfrm>
            <a:off x="6375657" y="1648773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B266BA2-E1B6-B154-336B-0E67A7F9A692}"/>
              </a:ext>
            </a:extLst>
          </p:cNvPr>
          <p:cNvSpPr/>
          <p:nvPr/>
        </p:nvSpPr>
        <p:spPr>
          <a:xfrm>
            <a:off x="6654564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C2258B2-F837-BC2C-D458-5CC95AB43F29}"/>
              </a:ext>
            </a:extLst>
          </p:cNvPr>
          <p:cNvSpPr/>
          <p:nvPr/>
        </p:nvSpPr>
        <p:spPr>
          <a:xfrm>
            <a:off x="665456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1C5A300-07E4-370F-5F27-2216A0EA196F}"/>
              </a:ext>
            </a:extLst>
          </p:cNvPr>
          <p:cNvSpPr/>
          <p:nvPr/>
        </p:nvSpPr>
        <p:spPr>
          <a:xfrm>
            <a:off x="6713944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5F58582-8ABC-3107-C325-63CCF147516A}"/>
              </a:ext>
            </a:extLst>
          </p:cNvPr>
          <p:cNvCxnSpPr/>
          <p:nvPr/>
        </p:nvCxnSpPr>
        <p:spPr>
          <a:xfrm>
            <a:off x="6654564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4BDF8EA4-A769-0776-FCC1-24CCC461886F}"/>
              </a:ext>
            </a:extLst>
          </p:cNvPr>
          <p:cNvSpPr/>
          <p:nvPr/>
        </p:nvSpPr>
        <p:spPr>
          <a:xfrm>
            <a:off x="6533412" y="1890042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979A27E2-36D0-A5D1-E0A6-5D535B01AA80}"/>
              </a:ext>
            </a:extLst>
          </p:cNvPr>
          <p:cNvSpPr/>
          <p:nvPr/>
        </p:nvSpPr>
        <p:spPr>
          <a:xfrm>
            <a:off x="653341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DFB7B11-540F-490E-2325-2180CB6CB693}"/>
              </a:ext>
            </a:extLst>
          </p:cNvPr>
          <p:cNvSpPr/>
          <p:nvPr/>
        </p:nvSpPr>
        <p:spPr>
          <a:xfrm>
            <a:off x="6592792" y="197605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B7F695E-931C-25FC-235E-F8992701746E}"/>
              </a:ext>
            </a:extLst>
          </p:cNvPr>
          <p:cNvCxnSpPr/>
          <p:nvPr/>
        </p:nvCxnSpPr>
        <p:spPr>
          <a:xfrm>
            <a:off x="6533412" y="197398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E4DE30E-5422-E23A-7425-94FE772F80E1}"/>
              </a:ext>
            </a:extLst>
          </p:cNvPr>
          <p:cNvCxnSpPr/>
          <p:nvPr/>
        </p:nvCxnSpPr>
        <p:spPr>
          <a:xfrm>
            <a:off x="6509075" y="202344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BC66EAED-CD0B-BDF2-95CB-46ED26ED37AB}"/>
              </a:ext>
            </a:extLst>
          </p:cNvPr>
          <p:cNvSpPr txBox="1"/>
          <p:nvPr/>
        </p:nvSpPr>
        <p:spPr>
          <a:xfrm>
            <a:off x="6366442" y="2015446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2F622DD-69E7-65B1-C4A9-9801307B13EF}"/>
              </a:ext>
            </a:extLst>
          </p:cNvPr>
          <p:cNvSpPr/>
          <p:nvPr/>
        </p:nvSpPr>
        <p:spPr>
          <a:xfrm>
            <a:off x="6667203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BB6F811-4FA4-EDCA-C8D9-686122B558E3}"/>
              </a:ext>
            </a:extLst>
          </p:cNvPr>
          <p:cNvSpPr/>
          <p:nvPr/>
        </p:nvSpPr>
        <p:spPr>
          <a:xfrm>
            <a:off x="666720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028D27D6-69F6-5091-1772-C36904B98384}"/>
              </a:ext>
            </a:extLst>
          </p:cNvPr>
          <p:cNvSpPr/>
          <p:nvPr/>
        </p:nvSpPr>
        <p:spPr>
          <a:xfrm>
            <a:off x="6726583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1112421D-FF78-B5E9-F336-F553C7948703}"/>
              </a:ext>
            </a:extLst>
          </p:cNvPr>
          <p:cNvCxnSpPr/>
          <p:nvPr/>
        </p:nvCxnSpPr>
        <p:spPr>
          <a:xfrm>
            <a:off x="6667203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ED2EF51-3E4F-EC45-2074-5E295211DB33}"/>
              </a:ext>
            </a:extLst>
          </p:cNvPr>
          <p:cNvSpPr/>
          <p:nvPr/>
        </p:nvSpPr>
        <p:spPr>
          <a:xfrm>
            <a:off x="6785937" y="226752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8CADFD1-B39C-2D72-378D-49B378009C3E}"/>
              </a:ext>
            </a:extLst>
          </p:cNvPr>
          <p:cNvSpPr/>
          <p:nvPr/>
        </p:nvSpPr>
        <p:spPr>
          <a:xfrm>
            <a:off x="678593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B90F7D1-ABCB-DF34-3FD2-5315E9DC8812}"/>
              </a:ext>
            </a:extLst>
          </p:cNvPr>
          <p:cNvSpPr/>
          <p:nvPr/>
        </p:nvSpPr>
        <p:spPr>
          <a:xfrm>
            <a:off x="6845317" y="235353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02DA8FD4-9062-B5AD-9110-5678F2995483}"/>
              </a:ext>
            </a:extLst>
          </p:cNvPr>
          <p:cNvCxnSpPr/>
          <p:nvPr/>
        </p:nvCxnSpPr>
        <p:spPr>
          <a:xfrm>
            <a:off x="6785937" y="235146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CB4ACB75-ED57-A9AE-253E-FD534F00D1A1}"/>
              </a:ext>
            </a:extLst>
          </p:cNvPr>
          <p:cNvSpPr/>
          <p:nvPr/>
        </p:nvSpPr>
        <p:spPr>
          <a:xfrm>
            <a:off x="6546051" y="226463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0C085C67-CE36-7AF6-F47B-CEB52E891DD2}"/>
              </a:ext>
            </a:extLst>
          </p:cNvPr>
          <p:cNvSpPr/>
          <p:nvPr/>
        </p:nvSpPr>
        <p:spPr>
          <a:xfrm>
            <a:off x="654605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358D69B-677E-607E-5BB5-B69B20A80ADA}"/>
              </a:ext>
            </a:extLst>
          </p:cNvPr>
          <p:cNvSpPr/>
          <p:nvPr/>
        </p:nvSpPr>
        <p:spPr>
          <a:xfrm>
            <a:off x="6605431" y="235064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B1AF5007-8BA8-41CC-E806-A1C1BCB6B6F7}"/>
              </a:ext>
            </a:extLst>
          </p:cNvPr>
          <p:cNvCxnSpPr/>
          <p:nvPr/>
        </p:nvCxnSpPr>
        <p:spPr>
          <a:xfrm>
            <a:off x="6546051" y="234857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FC18DE76-0386-A6CD-D3EE-FFC3147D05F2}"/>
              </a:ext>
            </a:extLst>
          </p:cNvPr>
          <p:cNvCxnSpPr/>
          <p:nvPr/>
        </p:nvCxnSpPr>
        <p:spPr>
          <a:xfrm>
            <a:off x="6521714" y="239803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6311959-6B62-95FB-CE45-8A419FC7BE6C}"/>
              </a:ext>
            </a:extLst>
          </p:cNvPr>
          <p:cNvSpPr txBox="1"/>
          <p:nvPr/>
        </p:nvSpPr>
        <p:spPr>
          <a:xfrm>
            <a:off x="6379081" y="239003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DBF957B4-B01D-8DFA-2A00-928A120CD5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95C82A49-DD06-EDDA-E64D-714E413565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55F0370C-787A-90BD-4C74-8F5CB2CE7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3005410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6CBAF91-0AEA-1C51-8BCA-F3797177F5BC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0ED0CD95-DAC9-1E5A-40E2-3B04291090B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pic>
        <p:nvPicPr>
          <p:cNvPr id="62" name="Grafik 61" descr="Roboterhand Silhouette">
            <a:extLst>
              <a:ext uri="{FF2B5EF4-FFF2-40B4-BE49-F238E27FC236}">
                <a16:creationId xmlns:a16="http://schemas.microsoft.com/office/drawing/2014/main" id="{EB7F45FD-DAE2-D752-BDA2-80082C8508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596" y="1458039"/>
            <a:ext cx="140737" cy="140737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8910B9C8-E12E-2600-42B2-99A9F68631CD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A82F0DD6-37E6-75BD-AE5A-DDB3ADBF1EA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C813125D-DE3F-A68A-B513-254AB8F285B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18CAD92E-B6CA-1B0C-7AD6-E1FD851592B9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DDD9E45C-CF6F-BE3C-683C-B2A3AC48E1B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FE562043-2213-CCDC-11FA-3DF9EBC526A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F4BF6058-F1B5-EAED-63D1-9E78E507DB57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1" name="Grafik 70" descr="Cmd (Terminal) Silhouette">
            <a:extLst>
              <a:ext uri="{FF2B5EF4-FFF2-40B4-BE49-F238E27FC236}">
                <a16:creationId xmlns:a16="http://schemas.microsoft.com/office/drawing/2014/main" id="{B98ACBAC-C52B-CAFB-0FAA-0D6FD95131D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51304" y="1916299"/>
            <a:ext cx="193532" cy="193532"/>
          </a:xfrm>
          <a:prstGeom prst="rect">
            <a:avLst/>
          </a:prstGeom>
        </p:spPr>
      </p:pic>
      <p:pic>
        <p:nvPicPr>
          <p:cNvPr id="72" name="Grafik 71" descr="Cmd (Terminal) Silhouette">
            <a:extLst>
              <a:ext uri="{FF2B5EF4-FFF2-40B4-BE49-F238E27FC236}">
                <a16:creationId xmlns:a16="http://schemas.microsoft.com/office/drawing/2014/main" id="{957CD1D3-B722-0E83-DF91-3A58DD87071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51939" y="2295437"/>
            <a:ext cx="193532" cy="193532"/>
          </a:xfrm>
          <a:prstGeom prst="rect">
            <a:avLst/>
          </a:prstGeom>
        </p:spPr>
      </p:pic>
      <p:pic>
        <p:nvPicPr>
          <p:cNvPr id="73" name="Grafik 72" descr="Roboterhand Silhouette">
            <a:extLst>
              <a:ext uri="{FF2B5EF4-FFF2-40B4-BE49-F238E27FC236}">
                <a16:creationId xmlns:a16="http://schemas.microsoft.com/office/drawing/2014/main" id="{2FA6B7CA-08D6-8F56-B170-129A48BF0E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9090" y="1828989"/>
            <a:ext cx="140737" cy="140737"/>
          </a:xfrm>
          <a:prstGeom prst="rect">
            <a:avLst/>
          </a:prstGeom>
        </p:spPr>
      </p:pic>
      <p:pic>
        <p:nvPicPr>
          <p:cNvPr id="74" name="Grafik 73" descr="Roboterhand Silhouette">
            <a:extLst>
              <a:ext uri="{FF2B5EF4-FFF2-40B4-BE49-F238E27FC236}">
                <a16:creationId xmlns:a16="http://schemas.microsoft.com/office/drawing/2014/main" id="{A23118B7-6BF3-8DA3-2DB0-7EFC3B6C1E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3219" y="2205283"/>
            <a:ext cx="140737" cy="140737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F638224F-993D-45BA-3C79-2910A3AE110E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19BFBC4-E96B-64BB-56BA-A245F5819EB5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3CABAAD-B3FD-1D79-C50A-795E85FEA70C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4D9144C8-F4B0-7AB4-8641-AA4657CC0B6F}"/>
              </a:ext>
            </a:extLst>
          </p:cNvPr>
          <p:cNvCxnSpPr/>
          <p:nvPr/>
        </p:nvCxnSpPr>
        <p:spPr>
          <a:xfrm>
            <a:off x="3886907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683B215-CB05-F923-130C-B54C0F76F689}"/>
              </a:ext>
            </a:extLst>
          </p:cNvPr>
          <p:cNvCxnSpPr/>
          <p:nvPr/>
        </p:nvCxnSpPr>
        <p:spPr>
          <a:xfrm>
            <a:off x="3886907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A4A3302E-6FA2-FE29-90A9-55A6D6C9E6A6}"/>
              </a:ext>
            </a:extLst>
          </p:cNvPr>
          <p:cNvCxnSpPr/>
          <p:nvPr/>
        </p:nvCxnSpPr>
        <p:spPr>
          <a:xfrm>
            <a:off x="3886907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B854A333-1D11-5EA3-0F7F-1B8D5FCCE5BF}"/>
              </a:ext>
            </a:extLst>
          </p:cNvPr>
          <p:cNvCxnSpPr/>
          <p:nvPr/>
        </p:nvCxnSpPr>
        <p:spPr>
          <a:xfrm>
            <a:off x="4536945" y="163674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3C1760-7F98-F72F-90E7-A4B0D0F2C651}"/>
              </a:ext>
            </a:extLst>
          </p:cNvPr>
          <p:cNvCxnSpPr/>
          <p:nvPr/>
        </p:nvCxnSpPr>
        <p:spPr>
          <a:xfrm>
            <a:off x="4536945" y="201659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2A5D233A-6BDB-1BDD-D470-CFA170ADE609}"/>
              </a:ext>
            </a:extLst>
          </p:cNvPr>
          <p:cNvCxnSpPr/>
          <p:nvPr/>
        </p:nvCxnSpPr>
        <p:spPr>
          <a:xfrm>
            <a:off x="4536945" y="239803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E96AC8D3-27C9-3853-8DB1-89615DB646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83D69F7C-F136-9287-1C50-506629490E16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A80F7B52-6324-2439-E37F-B1B573ADA3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3C812CE-9440-1FDE-43E4-7AFD252958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9AEF33A-A5C8-268C-D8A4-6BBBD73850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9750731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615C8AD-7CB7-9D74-80FE-EC905B776AE0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A183314-B778-DB18-2DAE-E9C16230AB6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0F019C31-F942-12E6-AFC2-2F53592A816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E751AF5C-AD54-A0C0-77F0-0B6BA60D28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3612745F-F9ED-E9E3-7B4F-F916457402BA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6A8DB3FB-14D3-0CD9-290A-CA5D9AC55BBB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3B32EF71-E0C5-93E9-DB1F-41673F61A578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005949A-B2DE-95A7-1326-E52FF8E3CE42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3F79CD1-9258-6FF6-5B40-BBF590AB504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1B9304B2-4D23-12D6-7BC5-86EF5B3BC7E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855AFF1A-FE59-5209-1B1A-BA2341E642FE}"/>
              </a:ext>
            </a:extLst>
          </p:cNvPr>
          <p:cNvCxnSpPr/>
          <p:nvPr/>
        </p:nvCxnSpPr>
        <p:spPr>
          <a:xfrm>
            <a:off x="3894513" y="436418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5A4E9819-6FAA-8131-473B-E1B9A13A0EAF}"/>
              </a:ext>
            </a:extLst>
          </p:cNvPr>
          <p:cNvCxnSpPr/>
          <p:nvPr/>
        </p:nvCxnSpPr>
        <p:spPr>
          <a:xfrm>
            <a:off x="3894513" y="474404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A52F8F8-3570-8417-DAA5-9D77AD174A55}"/>
              </a:ext>
            </a:extLst>
          </p:cNvPr>
          <p:cNvCxnSpPr/>
          <p:nvPr/>
        </p:nvCxnSpPr>
        <p:spPr>
          <a:xfrm>
            <a:off x="3894513" y="512548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0001F213-A975-2E7A-C840-C2205E080AF0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F8EE035F-04D8-DC0C-D7B2-BDD958EA9F3A}"/>
              </a:ext>
            </a:extLst>
          </p:cNvPr>
          <p:cNvSpPr txBox="1"/>
          <p:nvPr/>
        </p:nvSpPr>
        <p:spPr>
          <a:xfrm>
            <a:off x="6215911" y="1021090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61EF355-1F0E-3936-F57D-0218495F2ABF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FC3ACE09-BD6C-5B45-061D-E637A50F8612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18381B9B-A8F2-92CF-5FEE-00B64A6BE2FA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558361EA-FC3A-1C25-B761-A2156F74D88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311B127F-5DF0-0561-2CF0-9DF6B14A0013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910C423-89D8-5B9B-8A44-5241C29EB2FA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4AD9AE70-1831-56C4-E09F-67ADB633C97D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B63F3224-1998-CFA4-83B3-B0738B49F05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5F55CC31-21DA-CB5E-2B13-C1F0AE23399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47DE66CA-2BCC-7063-41D4-0A6125702A0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32CC56FE-ADAE-DE36-E04D-7C456E843E4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FEA6382E-55DC-28A3-0EF3-23C72F326EBF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683242C0-6EE9-E88F-EEBB-7304ACEA1B31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A1E57576-7A33-269B-61E3-DCF698D610F8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1B32BBA7-20D0-95D7-CB45-056B2769AF3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24EAC7D1-F3D5-299B-F369-C34ED542CB70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E4078FEE-3AFB-5159-E6A0-ED21CBABBCED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FC2FDC0-15BD-8862-CAF1-8A9B0542963B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6CB486D-AD8B-D8CC-FD15-055F8CA28E1B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4D839AFE-1B8B-8379-B42C-B04C47FF80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8A9B4329-6315-9CFC-1FAE-8B06422BDD13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084EC68-5F4F-DC38-81F9-C92A1F2897F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7C29DB11-3C07-C5B1-6710-F03C902D5668}"/>
              </a:ext>
            </a:extLst>
          </p:cNvPr>
          <p:cNvSpPr txBox="1"/>
          <p:nvPr/>
        </p:nvSpPr>
        <p:spPr>
          <a:xfrm>
            <a:off x="1510917" y="2683936"/>
            <a:ext cx="195479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246" name="Pfeil: nach rechts 245">
            <a:extLst>
              <a:ext uri="{FF2B5EF4-FFF2-40B4-BE49-F238E27FC236}">
                <a16:creationId xmlns:a16="http://schemas.microsoft.com/office/drawing/2014/main" id="{6C2228DB-24DD-DF14-6616-873B890EEC16}"/>
              </a:ext>
            </a:extLst>
          </p:cNvPr>
          <p:cNvSpPr/>
          <p:nvPr/>
        </p:nvSpPr>
        <p:spPr>
          <a:xfrm>
            <a:off x="4935390" y="423855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247" name="Grafik 246" descr="Cmd (Terminal) Silhouette">
            <a:extLst>
              <a:ext uri="{FF2B5EF4-FFF2-40B4-BE49-F238E27FC236}">
                <a16:creationId xmlns:a16="http://schemas.microsoft.com/office/drawing/2014/main" id="{C0A30BFB-6C3E-7664-2A8B-840C05F93A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49956" y="4277980"/>
            <a:ext cx="193532" cy="193532"/>
          </a:xfrm>
          <a:prstGeom prst="rect">
            <a:avLst/>
          </a:prstGeom>
        </p:spPr>
      </p:pic>
      <p:sp>
        <p:nvSpPr>
          <p:cNvPr id="248" name="Pfeil: nach rechts 247">
            <a:extLst>
              <a:ext uri="{FF2B5EF4-FFF2-40B4-BE49-F238E27FC236}">
                <a16:creationId xmlns:a16="http://schemas.microsoft.com/office/drawing/2014/main" id="{A8B5674B-DE83-CC77-D56B-295A6A281FC8}"/>
              </a:ext>
            </a:extLst>
          </p:cNvPr>
          <p:cNvSpPr/>
          <p:nvPr/>
        </p:nvSpPr>
        <p:spPr>
          <a:xfrm>
            <a:off x="4929713" y="461136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249" name="Pfeil: nach rechts 248">
            <a:extLst>
              <a:ext uri="{FF2B5EF4-FFF2-40B4-BE49-F238E27FC236}">
                <a16:creationId xmlns:a16="http://schemas.microsoft.com/office/drawing/2014/main" id="{53F6EA37-90B8-E615-B357-12F71FFC4C81}"/>
              </a:ext>
            </a:extLst>
          </p:cNvPr>
          <p:cNvSpPr/>
          <p:nvPr/>
        </p:nvSpPr>
        <p:spPr>
          <a:xfrm>
            <a:off x="4923070" y="498417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3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E6BF5E56-AAE3-0EBD-CC30-63717EE68347}"/>
              </a:ext>
            </a:extLst>
          </p:cNvPr>
          <p:cNvSpPr/>
          <p:nvPr/>
        </p:nvSpPr>
        <p:spPr>
          <a:xfrm>
            <a:off x="7122151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F7C96E6A-38DD-45FA-C433-0E62AF73CC1B}"/>
              </a:ext>
            </a:extLst>
          </p:cNvPr>
          <p:cNvSpPr/>
          <p:nvPr/>
        </p:nvSpPr>
        <p:spPr>
          <a:xfrm>
            <a:off x="712215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E4E47EA5-A176-5BC4-363F-B5989BA2C947}"/>
              </a:ext>
            </a:extLst>
          </p:cNvPr>
          <p:cNvSpPr/>
          <p:nvPr/>
        </p:nvSpPr>
        <p:spPr>
          <a:xfrm>
            <a:off x="7181531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3" name="Gerader Verbinder 252">
            <a:extLst>
              <a:ext uri="{FF2B5EF4-FFF2-40B4-BE49-F238E27FC236}">
                <a16:creationId xmlns:a16="http://schemas.microsoft.com/office/drawing/2014/main" id="{55B453B7-9C0E-D714-67BD-3A16CEAB34B0}"/>
              </a:ext>
            </a:extLst>
          </p:cNvPr>
          <p:cNvCxnSpPr/>
          <p:nvPr/>
        </p:nvCxnSpPr>
        <p:spPr>
          <a:xfrm>
            <a:off x="7122151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4" name="Rechteck 253">
            <a:extLst>
              <a:ext uri="{FF2B5EF4-FFF2-40B4-BE49-F238E27FC236}">
                <a16:creationId xmlns:a16="http://schemas.microsoft.com/office/drawing/2014/main" id="{8105D3BE-DE4D-6439-2EF7-CB29CB5208E0}"/>
              </a:ext>
            </a:extLst>
          </p:cNvPr>
          <p:cNvSpPr/>
          <p:nvPr/>
        </p:nvSpPr>
        <p:spPr>
          <a:xfrm>
            <a:off x="7366284" y="422484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08A151E3-BCAB-0CA9-4A64-99770133230F}"/>
              </a:ext>
            </a:extLst>
          </p:cNvPr>
          <p:cNvSpPr/>
          <p:nvPr/>
        </p:nvSpPr>
        <p:spPr>
          <a:xfrm>
            <a:off x="736628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3B8B8B8E-15F6-BB0D-EFCF-DD541CB41DFE}"/>
              </a:ext>
            </a:extLst>
          </p:cNvPr>
          <p:cNvSpPr/>
          <p:nvPr/>
        </p:nvSpPr>
        <p:spPr>
          <a:xfrm>
            <a:off x="7425664" y="431085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61C100EE-9973-7CD8-0080-D5B1983312BC}"/>
              </a:ext>
            </a:extLst>
          </p:cNvPr>
          <p:cNvCxnSpPr/>
          <p:nvPr/>
        </p:nvCxnSpPr>
        <p:spPr>
          <a:xfrm>
            <a:off x="7366284" y="430878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58" name="Rechteck 257">
            <a:extLst>
              <a:ext uri="{FF2B5EF4-FFF2-40B4-BE49-F238E27FC236}">
                <a16:creationId xmlns:a16="http://schemas.microsoft.com/office/drawing/2014/main" id="{38892147-6081-9CB8-E934-F47E8E19A7C9}"/>
              </a:ext>
            </a:extLst>
          </p:cNvPr>
          <p:cNvSpPr/>
          <p:nvPr/>
        </p:nvSpPr>
        <p:spPr>
          <a:xfrm>
            <a:off x="7240885" y="423029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4C675395-69F5-457B-8B20-28602630770B}"/>
              </a:ext>
            </a:extLst>
          </p:cNvPr>
          <p:cNvSpPr/>
          <p:nvPr/>
        </p:nvSpPr>
        <p:spPr>
          <a:xfrm>
            <a:off x="724088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6C025FBA-094F-983F-FB71-320661844CEE}"/>
              </a:ext>
            </a:extLst>
          </p:cNvPr>
          <p:cNvSpPr/>
          <p:nvPr/>
        </p:nvSpPr>
        <p:spPr>
          <a:xfrm>
            <a:off x="7300265" y="431630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618CB7ED-4994-02F5-46B6-E85CD37CC9A3}"/>
              </a:ext>
            </a:extLst>
          </p:cNvPr>
          <p:cNvCxnSpPr/>
          <p:nvPr/>
        </p:nvCxnSpPr>
        <p:spPr>
          <a:xfrm>
            <a:off x="7240885" y="431423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62" name="Rechteck 261">
            <a:extLst>
              <a:ext uri="{FF2B5EF4-FFF2-40B4-BE49-F238E27FC236}">
                <a16:creationId xmlns:a16="http://schemas.microsoft.com/office/drawing/2014/main" id="{A0A33DB6-B4F5-A6EA-A3D2-A563D991F7FC}"/>
              </a:ext>
            </a:extLst>
          </p:cNvPr>
          <p:cNvSpPr/>
          <p:nvPr/>
        </p:nvSpPr>
        <p:spPr>
          <a:xfrm>
            <a:off x="7000999" y="422739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0E31F96A-C1FB-7CB0-FBF9-DCB926474A7D}"/>
              </a:ext>
            </a:extLst>
          </p:cNvPr>
          <p:cNvSpPr/>
          <p:nvPr/>
        </p:nvSpPr>
        <p:spPr>
          <a:xfrm>
            <a:off x="700099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221E8F98-3C59-0A18-47B0-79C33CA8E72E}"/>
              </a:ext>
            </a:extLst>
          </p:cNvPr>
          <p:cNvSpPr/>
          <p:nvPr/>
        </p:nvSpPr>
        <p:spPr>
          <a:xfrm>
            <a:off x="7060379" y="431340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C67A2D17-C25C-6EE3-DF23-E3D0F3F9F1B8}"/>
              </a:ext>
            </a:extLst>
          </p:cNvPr>
          <p:cNvCxnSpPr/>
          <p:nvPr/>
        </p:nvCxnSpPr>
        <p:spPr>
          <a:xfrm>
            <a:off x="7000999" y="431134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66" name="Gerader Verbinder 265">
            <a:extLst>
              <a:ext uri="{FF2B5EF4-FFF2-40B4-BE49-F238E27FC236}">
                <a16:creationId xmlns:a16="http://schemas.microsoft.com/office/drawing/2014/main" id="{D91E2D09-B16B-5D0F-2C45-676DFE6B0B79}"/>
              </a:ext>
            </a:extLst>
          </p:cNvPr>
          <p:cNvCxnSpPr/>
          <p:nvPr/>
        </p:nvCxnSpPr>
        <p:spPr>
          <a:xfrm>
            <a:off x="6976662" y="436080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67" name="Textfeld 266">
            <a:extLst>
              <a:ext uri="{FF2B5EF4-FFF2-40B4-BE49-F238E27FC236}">
                <a16:creationId xmlns:a16="http://schemas.microsoft.com/office/drawing/2014/main" id="{1F15D5AE-9507-B388-5267-C99C9BC3EC11}"/>
              </a:ext>
            </a:extLst>
          </p:cNvPr>
          <p:cNvSpPr txBox="1"/>
          <p:nvPr/>
        </p:nvSpPr>
        <p:spPr>
          <a:xfrm>
            <a:off x="6834029" y="435280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AFE06CD6-0C58-BA20-D7AD-654398C18825}"/>
              </a:ext>
            </a:extLst>
          </p:cNvPr>
          <p:cNvSpPr/>
          <p:nvPr/>
        </p:nvSpPr>
        <p:spPr>
          <a:xfrm>
            <a:off x="7112936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7D16D76C-1139-6FF6-FADA-F19B15F89F63}"/>
              </a:ext>
            </a:extLst>
          </p:cNvPr>
          <p:cNvSpPr/>
          <p:nvPr/>
        </p:nvSpPr>
        <p:spPr>
          <a:xfrm>
            <a:off x="711293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AA567C38-6464-6887-9D61-14FEBB30BC9A}"/>
              </a:ext>
            </a:extLst>
          </p:cNvPr>
          <p:cNvSpPr/>
          <p:nvPr/>
        </p:nvSpPr>
        <p:spPr>
          <a:xfrm>
            <a:off x="7172316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1" name="Gerader Verbinder 270">
            <a:extLst>
              <a:ext uri="{FF2B5EF4-FFF2-40B4-BE49-F238E27FC236}">
                <a16:creationId xmlns:a16="http://schemas.microsoft.com/office/drawing/2014/main" id="{66F80ABD-F9D3-2038-D764-5E768556B009}"/>
              </a:ext>
            </a:extLst>
          </p:cNvPr>
          <p:cNvCxnSpPr/>
          <p:nvPr/>
        </p:nvCxnSpPr>
        <p:spPr>
          <a:xfrm>
            <a:off x="7112936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2" name="Rechteck 271">
            <a:extLst>
              <a:ext uri="{FF2B5EF4-FFF2-40B4-BE49-F238E27FC236}">
                <a16:creationId xmlns:a16="http://schemas.microsoft.com/office/drawing/2014/main" id="{ACA1A99D-1823-5374-D93E-D4ABECCD77F5}"/>
              </a:ext>
            </a:extLst>
          </p:cNvPr>
          <p:cNvSpPr/>
          <p:nvPr/>
        </p:nvSpPr>
        <p:spPr>
          <a:xfrm>
            <a:off x="6991784" y="459407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72F4E3C7-C9A2-0D88-EA36-6EA37F769D7C}"/>
              </a:ext>
            </a:extLst>
          </p:cNvPr>
          <p:cNvSpPr/>
          <p:nvPr/>
        </p:nvSpPr>
        <p:spPr>
          <a:xfrm>
            <a:off x="699178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25ED7320-83BB-7DF3-3217-DBBBF681DB1E}"/>
              </a:ext>
            </a:extLst>
          </p:cNvPr>
          <p:cNvSpPr/>
          <p:nvPr/>
        </p:nvSpPr>
        <p:spPr>
          <a:xfrm>
            <a:off x="7051164" y="46800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75" name="Gerader Verbinder 274">
            <a:extLst>
              <a:ext uri="{FF2B5EF4-FFF2-40B4-BE49-F238E27FC236}">
                <a16:creationId xmlns:a16="http://schemas.microsoft.com/office/drawing/2014/main" id="{832FCCF3-BBF7-AD88-6EE6-A1E31D6E88B5}"/>
              </a:ext>
            </a:extLst>
          </p:cNvPr>
          <p:cNvCxnSpPr/>
          <p:nvPr/>
        </p:nvCxnSpPr>
        <p:spPr>
          <a:xfrm>
            <a:off x="6991784" y="46780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4CF00473-712E-0CDC-3942-E876194C4879}"/>
              </a:ext>
            </a:extLst>
          </p:cNvPr>
          <p:cNvCxnSpPr/>
          <p:nvPr/>
        </p:nvCxnSpPr>
        <p:spPr>
          <a:xfrm>
            <a:off x="6967447" y="47274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77" name="Textfeld 276">
            <a:extLst>
              <a:ext uri="{FF2B5EF4-FFF2-40B4-BE49-F238E27FC236}">
                <a16:creationId xmlns:a16="http://schemas.microsoft.com/office/drawing/2014/main" id="{288F06DF-AE32-07FF-494D-379E3BCC0912}"/>
              </a:ext>
            </a:extLst>
          </p:cNvPr>
          <p:cNvSpPr txBox="1"/>
          <p:nvPr/>
        </p:nvSpPr>
        <p:spPr>
          <a:xfrm>
            <a:off x="6824814" y="471947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3CC833F1-2BA9-777C-A3A1-5915EED51719}"/>
              </a:ext>
            </a:extLst>
          </p:cNvPr>
          <p:cNvSpPr/>
          <p:nvPr/>
        </p:nvSpPr>
        <p:spPr>
          <a:xfrm>
            <a:off x="7106525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2E6A3358-D6AF-E9F9-06CA-872A434223AA}"/>
              </a:ext>
            </a:extLst>
          </p:cNvPr>
          <p:cNvSpPr/>
          <p:nvPr/>
        </p:nvSpPr>
        <p:spPr>
          <a:xfrm>
            <a:off x="710652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FEC1668D-A22A-7F72-CEEA-20D468D87D0A}"/>
              </a:ext>
            </a:extLst>
          </p:cNvPr>
          <p:cNvSpPr/>
          <p:nvPr/>
        </p:nvSpPr>
        <p:spPr>
          <a:xfrm>
            <a:off x="7165905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1" name="Gerader Verbinder 280">
            <a:extLst>
              <a:ext uri="{FF2B5EF4-FFF2-40B4-BE49-F238E27FC236}">
                <a16:creationId xmlns:a16="http://schemas.microsoft.com/office/drawing/2014/main" id="{2A04A090-1EAA-D770-3658-3FD6D4867A6C}"/>
              </a:ext>
            </a:extLst>
          </p:cNvPr>
          <p:cNvCxnSpPr/>
          <p:nvPr/>
        </p:nvCxnSpPr>
        <p:spPr>
          <a:xfrm>
            <a:off x="7106525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2" name="Rechteck 281">
            <a:extLst>
              <a:ext uri="{FF2B5EF4-FFF2-40B4-BE49-F238E27FC236}">
                <a16:creationId xmlns:a16="http://schemas.microsoft.com/office/drawing/2014/main" id="{10D86A2B-EFF8-E404-00EF-C0C90E1757B3}"/>
              </a:ext>
            </a:extLst>
          </p:cNvPr>
          <p:cNvSpPr/>
          <p:nvPr/>
        </p:nvSpPr>
        <p:spPr>
          <a:xfrm>
            <a:off x="7225259" y="497155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27128B6-F977-B764-A556-37A6527B3B5E}"/>
              </a:ext>
            </a:extLst>
          </p:cNvPr>
          <p:cNvSpPr/>
          <p:nvPr/>
        </p:nvSpPr>
        <p:spPr>
          <a:xfrm>
            <a:off x="722525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D1975B32-3837-49ED-488A-AB6CDC277CE3}"/>
              </a:ext>
            </a:extLst>
          </p:cNvPr>
          <p:cNvSpPr/>
          <p:nvPr/>
        </p:nvSpPr>
        <p:spPr>
          <a:xfrm>
            <a:off x="7284639" y="505756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5" name="Gerader Verbinder 284">
            <a:extLst>
              <a:ext uri="{FF2B5EF4-FFF2-40B4-BE49-F238E27FC236}">
                <a16:creationId xmlns:a16="http://schemas.microsoft.com/office/drawing/2014/main" id="{69C64DC7-CC95-3E13-C1CB-A66B527E913F}"/>
              </a:ext>
            </a:extLst>
          </p:cNvPr>
          <p:cNvCxnSpPr/>
          <p:nvPr/>
        </p:nvCxnSpPr>
        <p:spPr>
          <a:xfrm>
            <a:off x="7225259" y="505549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86" name="Rechteck 285">
            <a:extLst>
              <a:ext uri="{FF2B5EF4-FFF2-40B4-BE49-F238E27FC236}">
                <a16:creationId xmlns:a16="http://schemas.microsoft.com/office/drawing/2014/main" id="{A588310A-7D57-4D31-DCF1-8B918851FAB3}"/>
              </a:ext>
            </a:extLst>
          </p:cNvPr>
          <p:cNvSpPr/>
          <p:nvPr/>
        </p:nvSpPr>
        <p:spPr>
          <a:xfrm>
            <a:off x="6985373" y="496865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7EE5C956-7435-5C28-3CE8-0DD5E6BC500B}"/>
              </a:ext>
            </a:extLst>
          </p:cNvPr>
          <p:cNvSpPr/>
          <p:nvPr/>
        </p:nvSpPr>
        <p:spPr>
          <a:xfrm>
            <a:off x="698537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CE9EEF84-DF48-0542-047C-94AB762FA5C5}"/>
              </a:ext>
            </a:extLst>
          </p:cNvPr>
          <p:cNvSpPr/>
          <p:nvPr/>
        </p:nvSpPr>
        <p:spPr>
          <a:xfrm>
            <a:off x="7044753" y="505466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89" name="Gerader Verbinder 288">
            <a:extLst>
              <a:ext uri="{FF2B5EF4-FFF2-40B4-BE49-F238E27FC236}">
                <a16:creationId xmlns:a16="http://schemas.microsoft.com/office/drawing/2014/main" id="{08E76262-7D75-D5B4-6FB4-99A71C745B3B}"/>
              </a:ext>
            </a:extLst>
          </p:cNvPr>
          <p:cNvCxnSpPr/>
          <p:nvPr/>
        </p:nvCxnSpPr>
        <p:spPr>
          <a:xfrm>
            <a:off x="6985373" y="505260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90" name="Gerader Verbinder 289">
            <a:extLst>
              <a:ext uri="{FF2B5EF4-FFF2-40B4-BE49-F238E27FC236}">
                <a16:creationId xmlns:a16="http://schemas.microsoft.com/office/drawing/2014/main" id="{AD880DC9-E3DD-21ED-F383-102327A1A982}"/>
              </a:ext>
            </a:extLst>
          </p:cNvPr>
          <p:cNvCxnSpPr/>
          <p:nvPr/>
        </p:nvCxnSpPr>
        <p:spPr>
          <a:xfrm>
            <a:off x="6961036" y="510206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91" name="Grafik 290" descr="Roboterhand Silhouette">
            <a:extLst>
              <a:ext uri="{FF2B5EF4-FFF2-40B4-BE49-F238E27FC236}">
                <a16:creationId xmlns:a16="http://schemas.microsoft.com/office/drawing/2014/main" id="{A5995C96-C76B-D267-848F-DB479759F0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4186195"/>
            <a:ext cx="140737" cy="140737"/>
          </a:xfrm>
          <a:prstGeom prst="rect">
            <a:avLst/>
          </a:prstGeom>
        </p:spPr>
      </p:pic>
      <p:pic>
        <p:nvPicPr>
          <p:cNvPr id="292" name="Grafik 291" descr="Cmd (Terminal) Silhouette">
            <a:extLst>
              <a:ext uri="{FF2B5EF4-FFF2-40B4-BE49-F238E27FC236}">
                <a16:creationId xmlns:a16="http://schemas.microsoft.com/office/drawing/2014/main" id="{57CF9A47-8A14-C021-EACE-79BE251B737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43686" y="4644455"/>
            <a:ext cx="193532" cy="193532"/>
          </a:xfrm>
          <a:prstGeom prst="rect">
            <a:avLst/>
          </a:prstGeom>
        </p:spPr>
      </p:pic>
      <p:pic>
        <p:nvPicPr>
          <p:cNvPr id="293" name="Grafik 292" descr="Cmd (Terminal) Silhouette">
            <a:extLst>
              <a:ext uri="{FF2B5EF4-FFF2-40B4-BE49-F238E27FC236}">
                <a16:creationId xmlns:a16="http://schemas.microsoft.com/office/drawing/2014/main" id="{C0ECA3C0-28D2-0F6A-0133-FAEC6B5E47F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4321" y="5023593"/>
            <a:ext cx="193532" cy="193532"/>
          </a:xfrm>
          <a:prstGeom prst="rect">
            <a:avLst/>
          </a:prstGeom>
        </p:spPr>
      </p:pic>
      <p:pic>
        <p:nvPicPr>
          <p:cNvPr id="294" name="Grafik 293" descr="Roboterhand Silhouette">
            <a:extLst>
              <a:ext uri="{FF2B5EF4-FFF2-40B4-BE49-F238E27FC236}">
                <a16:creationId xmlns:a16="http://schemas.microsoft.com/office/drawing/2014/main" id="{14794E90-E54E-2DE2-2E8D-69B1580C04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4557145"/>
            <a:ext cx="140737" cy="140737"/>
          </a:xfrm>
          <a:prstGeom prst="rect">
            <a:avLst/>
          </a:prstGeom>
        </p:spPr>
      </p:pic>
      <p:pic>
        <p:nvPicPr>
          <p:cNvPr id="295" name="Grafik 294" descr="Roboterhand Silhouette">
            <a:extLst>
              <a:ext uri="{FF2B5EF4-FFF2-40B4-BE49-F238E27FC236}">
                <a16:creationId xmlns:a16="http://schemas.microsoft.com/office/drawing/2014/main" id="{2DAA36A0-E3F4-1CDB-F261-659C899380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4933439"/>
            <a:ext cx="140737" cy="140737"/>
          </a:xfrm>
          <a:prstGeom prst="rect">
            <a:avLst/>
          </a:prstGeom>
        </p:spPr>
      </p:pic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2C7ABADB-E5AB-B4E5-CD2A-69F1D4217A00}"/>
              </a:ext>
            </a:extLst>
          </p:cNvPr>
          <p:cNvCxnSpPr/>
          <p:nvPr/>
        </p:nvCxnSpPr>
        <p:spPr>
          <a:xfrm>
            <a:off x="4529327" y="43648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7" name="Gerade Verbindung mit Pfeil 296">
            <a:extLst>
              <a:ext uri="{FF2B5EF4-FFF2-40B4-BE49-F238E27FC236}">
                <a16:creationId xmlns:a16="http://schemas.microsoft.com/office/drawing/2014/main" id="{8159B7F6-D935-743C-F18C-9653B8EDA218}"/>
              </a:ext>
            </a:extLst>
          </p:cNvPr>
          <p:cNvCxnSpPr/>
          <p:nvPr/>
        </p:nvCxnSpPr>
        <p:spPr>
          <a:xfrm>
            <a:off x="452932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4D0E9219-CC6D-8C53-0BA3-63C0D4820040}"/>
              </a:ext>
            </a:extLst>
          </p:cNvPr>
          <p:cNvCxnSpPr/>
          <p:nvPr/>
        </p:nvCxnSpPr>
        <p:spPr>
          <a:xfrm>
            <a:off x="4529327" y="512619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9" name="Gerade Verbindung mit Pfeil 298">
            <a:extLst>
              <a:ext uri="{FF2B5EF4-FFF2-40B4-BE49-F238E27FC236}">
                <a16:creationId xmlns:a16="http://schemas.microsoft.com/office/drawing/2014/main" id="{4971D65F-BD07-54C3-D305-5DAB2283E3C0}"/>
              </a:ext>
            </a:extLst>
          </p:cNvPr>
          <p:cNvCxnSpPr/>
          <p:nvPr/>
        </p:nvCxnSpPr>
        <p:spPr>
          <a:xfrm>
            <a:off x="4522789" y="4742916"/>
            <a:ext cx="319088" cy="319088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0" name="Gerade Verbindung mit Pfeil 299">
            <a:extLst>
              <a:ext uri="{FF2B5EF4-FFF2-40B4-BE49-F238E27FC236}">
                <a16:creationId xmlns:a16="http://schemas.microsoft.com/office/drawing/2014/main" id="{BBE19399-86D9-AA78-849A-ED9FD9059886}"/>
              </a:ext>
            </a:extLst>
          </p:cNvPr>
          <p:cNvCxnSpPr/>
          <p:nvPr/>
        </p:nvCxnSpPr>
        <p:spPr>
          <a:xfrm flipV="1">
            <a:off x="4522789" y="4804829"/>
            <a:ext cx="319088" cy="314325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8EB79D55-F15B-B2B2-3589-D175ADC9E022}"/>
              </a:ext>
            </a:extLst>
          </p:cNvPr>
          <p:cNvSpPr txBox="1"/>
          <p:nvPr/>
        </p:nvSpPr>
        <p:spPr>
          <a:xfrm>
            <a:off x="4754033" y="470625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02" name="Textfeld 301">
            <a:extLst>
              <a:ext uri="{FF2B5EF4-FFF2-40B4-BE49-F238E27FC236}">
                <a16:creationId xmlns:a16="http://schemas.microsoft.com/office/drawing/2014/main" id="{FA791C83-88FB-9A8C-7C09-03AC54DFAA20}"/>
              </a:ext>
            </a:extLst>
          </p:cNvPr>
          <p:cNvSpPr txBox="1"/>
          <p:nvPr/>
        </p:nvSpPr>
        <p:spPr>
          <a:xfrm>
            <a:off x="6862323" y="508345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0EBEB7BB-BB7D-3CB5-6206-E3CBA3298732}"/>
              </a:ext>
            </a:extLst>
          </p:cNvPr>
          <p:cNvCxnSpPr/>
          <p:nvPr/>
        </p:nvCxnSpPr>
        <p:spPr>
          <a:xfrm>
            <a:off x="6479707" y="47447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4" name="Gerade Verbindung mit Pfeil 303">
            <a:extLst>
              <a:ext uri="{FF2B5EF4-FFF2-40B4-BE49-F238E27FC236}">
                <a16:creationId xmlns:a16="http://schemas.microsoft.com/office/drawing/2014/main" id="{CFBB8112-6936-F6F4-8B43-340118EAA0CE}"/>
              </a:ext>
            </a:extLst>
          </p:cNvPr>
          <p:cNvCxnSpPr/>
          <p:nvPr/>
        </p:nvCxnSpPr>
        <p:spPr>
          <a:xfrm>
            <a:off x="6465183" y="511622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5" name="Gerade Verbindung mit Pfeil 304">
            <a:extLst>
              <a:ext uri="{FF2B5EF4-FFF2-40B4-BE49-F238E27FC236}">
                <a16:creationId xmlns:a16="http://schemas.microsoft.com/office/drawing/2014/main" id="{08551740-0AEB-61CA-CEDA-4FF7D2603E77}"/>
              </a:ext>
            </a:extLst>
          </p:cNvPr>
          <p:cNvCxnSpPr>
            <a:cxnSpLocks/>
            <a:endCxn id="277" idx="1"/>
          </p:cNvCxnSpPr>
          <p:nvPr/>
        </p:nvCxnSpPr>
        <p:spPr>
          <a:xfrm flipV="1">
            <a:off x="6460257" y="4834890"/>
            <a:ext cx="364557" cy="276572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7425599-A6A7-E5EB-AF2C-8D4DF8D0D332}"/>
              </a:ext>
            </a:extLst>
          </p:cNvPr>
          <p:cNvCxnSpPr>
            <a:cxnSpLocks/>
          </p:cNvCxnSpPr>
          <p:nvPr/>
        </p:nvCxnSpPr>
        <p:spPr>
          <a:xfrm>
            <a:off x="6484071" y="473819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7" name="Textfeld 306">
            <a:extLst>
              <a:ext uri="{FF2B5EF4-FFF2-40B4-BE49-F238E27FC236}">
                <a16:creationId xmlns:a16="http://schemas.microsoft.com/office/drawing/2014/main" id="{CE14AEF2-4AED-7679-D54D-4029FCB3862A}"/>
              </a:ext>
            </a:extLst>
          </p:cNvPr>
          <p:cNvSpPr txBox="1"/>
          <p:nvPr/>
        </p:nvSpPr>
        <p:spPr>
          <a:xfrm>
            <a:off x="6332630" y="4686180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cxnSp>
        <p:nvCxnSpPr>
          <p:cNvPr id="308" name="Gerade Verbindung mit Pfeil 307">
            <a:extLst>
              <a:ext uri="{FF2B5EF4-FFF2-40B4-BE49-F238E27FC236}">
                <a16:creationId xmlns:a16="http://schemas.microsoft.com/office/drawing/2014/main" id="{BB9748BE-B763-548D-D7DB-4F51A2E266C9}"/>
              </a:ext>
            </a:extLst>
          </p:cNvPr>
          <p:cNvCxnSpPr/>
          <p:nvPr/>
        </p:nvCxnSpPr>
        <p:spPr>
          <a:xfrm>
            <a:off x="6460657" y="43827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0ADAD8A4-D827-BCF9-13A1-02A76E10D12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346331D3-1315-F07C-33D2-E1FC5D8CC1E1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C95D6189-3710-EDE9-CA41-EF1074BA0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5599D35-1AF9-F801-0BF8-B2C4DACC51F6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witching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s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ossible</a:t>
            </a:r>
          </a:p>
        </p:txBody>
      </p:sp>
    </p:spTree>
    <p:extLst>
      <p:ext uri="{BB962C8B-B14F-4D97-AF65-F5344CB8AC3E}">
        <p14:creationId xmlns:p14="http://schemas.microsoft.com/office/powerpoint/2010/main" val="282064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FF429-D150-FCBB-0A84-260A532313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1F55FA0-8EA2-C5C3-975F-CF969AD28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F55FA0-8EA2-C5C3-975F-CF969AD28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FA3D0DDA-3629-0DF3-43B7-BC382FC2AFEA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5138CCBA-D9BA-09C0-D75F-025DAE32C901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34255A4-46A4-41F1-FAEB-A77AE7201B86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8687FF26-C749-F6EF-7C1F-5FB9D4CA347D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FD37B5-4FFC-1E41-E117-7E1742E406A4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FB50B8F6-873C-ED52-96A7-6109CB45F33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71903AC9-1633-2E83-5376-DA8BE61002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4B68BE8A-79A6-CA6C-683A-81563FDFB4A1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E348542B-154B-2143-2121-2B07858C32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AD3F4C2-1480-13F7-4FAD-909E880A965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A12F4C48-1CF4-6EB4-EA5B-23EC2631E5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9616091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B4F27C9D-198D-0649-506E-AB52802BD54A}"/>
              </a:ext>
            </a:extLst>
          </p:cNvPr>
          <p:cNvSpPr txBox="1"/>
          <p:nvPr/>
        </p:nvSpPr>
        <p:spPr>
          <a:xfrm>
            <a:off x="4299179" y="653779"/>
            <a:ext cx="533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F5B3214C-4FD8-204D-09DC-3502C9D3D55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144AE4BD-4B67-3FB1-7B2D-A6844088ACD2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152683FB-B839-67F1-961E-7FF503FFA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1CC5C59B-782E-911C-E253-F94A618165C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55743EB4-717D-D696-A810-4935C455C69D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AB3941A7-80D5-0F61-ECE7-B4341179098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9DAFE3C0-6362-B16A-AB57-512B615403F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13DB66FC-A273-8652-8C33-25452B789DB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6AFBE8DE-9231-DF40-17BF-49E2D8919F92}"/>
              </a:ext>
            </a:extLst>
          </p:cNvPr>
          <p:cNvCxnSpPr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F5B6767-282A-FE76-8074-FEDC437AC8E6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8A9DD3CB-B825-0D36-0185-9AE4DE92570F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798CC554-5245-ACBC-8AF8-AC24C2F8D5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96974380-FF84-0BF5-1BAD-9905D7455E1A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C04C5342-379F-50F0-014D-1FD00CDC83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F5270EB1-2FA1-6958-86DE-B9CE420E1E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3F6193E5-1AB6-91EF-3512-59DEA800D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4976660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569FD187-57B6-F3BF-1742-76A202A04284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99CA4A20-D97B-E7C4-3816-B880BE897AE8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BB2CEF2E-B4D6-5375-0B22-BF682AA4194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28C4E6AC-D6A4-3AC8-D232-01E0D0BEEC5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B93ECB80-8DB6-F690-D67A-C4672BAE70B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1555E39D-CCE2-6AC2-3C37-802450137A32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F0BDB230-FE99-6579-5EA7-1102B3C8DE14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67823045-1E80-CBB4-AD55-B1DBD8DC0D89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9B04BF5B-A05E-7ECE-5718-6AD4D86C280F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A2718B50-7603-D4C3-9761-8FA20FDF2340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E04FE5C5-315B-0092-92A6-B2DEDE60934C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F3282637-3273-2657-6482-B805655B6088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BA742E0C-4DF0-DD69-9DC4-37F73E4B30B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A6FE439D-5A83-69A8-918C-D19BA7DB1B8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6A65EEE-B349-5630-A0E5-3CC8D0F3F2C8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0E074BA1-F784-6B02-E546-B29D54AD53CB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5A0D77EF-ED1A-105D-4698-C1DB3AECC39E}"/>
              </a:ext>
            </a:extLst>
          </p:cNvPr>
          <p:cNvSpPr txBox="1"/>
          <p:nvPr/>
        </p:nvSpPr>
        <p:spPr>
          <a:xfrm>
            <a:off x="8878816" y="111326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0" name="Textfeld 169">
            <a:extLst>
              <a:ext uri="{FF2B5EF4-FFF2-40B4-BE49-F238E27FC236}">
                <a16:creationId xmlns:a16="http://schemas.microsoft.com/office/drawing/2014/main" id="{5D3681EE-F6B0-1BAD-6A8D-79C9FE9BEF0E}"/>
              </a:ext>
            </a:extLst>
          </p:cNvPr>
          <p:cNvSpPr txBox="1"/>
          <p:nvPr/>
        </p:nvSpPr>
        <p:spPr>
          <a:xfrm>
            <a:off x="8895998" y="3852020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C562A098-2CB7-7FEE-C40A-5B8E912117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D6253648-1578-FF2A-0374-6EA3BB4384A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290D9EF6-2B83-2A21-1264-A4B92D40C61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9411F5B0-82E2-4777-D0C8-B2DEDE553339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992CE9E6-83E6-73F6-45FE-D5DBBFCD6555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04E27BE9-E06A-A830-961A-94AA0D258C6B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F655062A-DCCB-8A07-3B37-698C86F49593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E73E5566-64E8-1978-64BF-C1F0DE38BA7C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1039FA1-5619-56E3-D292-901E9C3D6DE1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8DB7E2C9-5BC3-E7B1-645B-91A3588785C0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D090C853-74DB-159F-A396-FDBEAE7F62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6369F1-188F-B866-61AC-6830A01D3ECC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E7ED6F5A-C48B-DDB7-F387-A77F84F85F6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3E1F0C60-92F9-0725-0313-C305668AB405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AD2740F9-F0D5-4C45-DFF9-6EB3617A8634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04FB4C99-2831-083F-12EE-10112A266A3A}"/>
              </a:ext>
            </a:extLst>
          </p:cNvPr>
          <p:cNvSpPr txBox="1"/>
          <p:nvPr/>
        </p:nvSpPr>
        <p:spPr>
          <a:xfrm>
            <a:off x="1510917" y="2683936"/>
            <a:ext cx="1954791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3E57430-B780-88C9-6515-F1A5AA4BC30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6F8A9D19-87F7-7267-2B81-BB68220A65F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4DBA80D8-A909-E7DF-11B9-B18D9068E33A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2C878E06-74F0-D3E5-36CE-1FC6AF9DE635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71ACB4CD-320C-7B70-52DE-F254CA67BC21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5CA4B64-B64E-5370-CC9D-B4021759907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AE53E410-8C48-5505-CC3C-CE2FE622FBCE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14EB34A-9164-66C2-BF11-D979F7BFD898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41F53989-0CA7-381C-FB4B-224458B89765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4FD7D1E1-12FD-AF1B-2307-4437F56BAB3F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99565D99-D30C-9D68-87DD-1D70F666A2D6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F4BE491F-A75A-A400-ADBE-AE3A40C5F6B0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87A400DA-FE53-4034-6171-BBAE89CE43B8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6F194A2-933F-69CF-9684-2875B8896E58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2AC2EA08-825F-E75E-CA33-DC513108F8CB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C0E12292-92C1-659D-84AB-6DFD92DCC20D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14617C6-9FDC-3485-80FC-2DE0732BD590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E1879074-D922-EBDD-09EB-BB83B612D0EA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48459AF0-C349-7313-86D3-5510420BA285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EFFC7E4B-F5D0-0057-4528-CB229959CDC9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2F826D1-22E0-77AB-E0CE-63B454D73FC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51533BF1-29D5-3871-7D60-EED4E13316A4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6FBE6855-9BD9-8D68-5C75-238DC30D91BA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49B97DD-9CEC-75E4-F111-D2C4A2C6345E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752EB035-5FD1-0CFA-6C92-165CA15AE76C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AFE26230-3DE6-B015-0E6C-CC14DA8D544F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9813190E-6970-39CB-665C-C3CFCA508C2A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3E70BC56-3B20-5567-B024-9055113348EF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F6E97D48-C703-AE81-A37A-AC53FD6469C9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9F969E78-DBAD-BBF6-99ED-485A15CDA2AA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EE0A4771-E43B-51A5-F52E-B8EDA8A159DE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97B4E068-C439-8DE1-19D2-A5FD9E3EA09E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72253D52-B2EC-568E-1383-EB153F6DAB13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4C962AD4-1B6B-032E-D009-E059E3B21D62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8E0DACFC-7AD1-06E2-ECE8-7D72904F37E8}"/>
              </a:ext>
            </a:extLst>
          </p:cNvPr>
          <p:cNvSpPr txBox="1"/>
          <p:nvPr/>
        </p:nvSpPr>
        <p:spPr>
          <a:xfrm>
            <a:off x="6824814" y="199082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6F06D7D9-6EC3-C39D-2304-F845B10A21A9}"/>
              </a:ext>
            </a:extLst>
          </p:cNvPr>
          <p:cNvSpPr/>
          <p:nvPr/>
        </p:nvSpPr>
        <p:spPr>
          <a:xfrm>
            <a:off x="7106525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BFA5EEEB-6F18-56DC-7DF1-0E1180BAF768}"/>
              </a:ext>
            </a:extLst>
          </p:cNvPr>
          <p:cNvSpPr/>
          <p:nvPr/>
        </p:nvSpPr>
        <p:spPr>
          <a:xfrm>
            <a:off x="710652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F98E4025-7BE7-EC2F-9D1B-FDBDDB4F6EBC}"/>
              </a:ext>
            </a:extLst>
          </p:cNvPr>
          <p:cNvSpPr/>
          <p:nvPr/>
        </p:nvSpPr>
        <p:spPr>
          <a:xfrm>
            <a:off x="7165905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FDC3D179-AA45-C246-CF0A-02F72572F8FB}"/>
              </a:ext>
            </a:extLst>
          </p:cNvPr>
          <p:cNvCxnSpPr/>
          <p:nvPr/>
        </p:nvCxnSpPr>
        <p:spPr>
          <a:xfrm>
            <a:off x="7106525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FDEC80AB-6AB6-D4F0-F687-629C75F942AB}"/>
              </a:ext>
            </a:extLst>
          </p:cNvPr>
          <p:cNvSpPr/>
          <p:nvPr/>
        </p:nvSpPr>
        <p:spPr>
          <a:xfrm>
            <a:off x="7225259" y="224290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F6641D40-7778-B234-EAE5-6B0383473238}"/>
              </a:ext>
            </a:extLst>
          </p:cNvPr>
          <p:cNvSpPr/>
          <p:nvPr/>
        </p:nvSpPr>
        <p:spPr>
          <a:xfrm>
            <a:off x="722525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B4561C5C-1FF8-4C79-1C85-55FAEA596DBB}"/>
              </a:ext>
            </a:extLst>
          </p:cNvPr>
          <p:cNvSpPr/>
          <p:nvPr/>
        </p:nvSpPr>
        <p:spPr>
          <a:xfrm>
            <a:off x="7284639" y="23289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CF8BE336-47B6-CF32-17F7-B05E4340F0B1}"/>
              </a:ext>
            </a:extLst>
          </p:cNvPr>
          <p:cNvCxnSpPr/>
          <p:nvPr/>
        </p:nvCxnSpPr>
        <p:spPr>
          <a:xfrm>
            <a:off x="7225259" y="23268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8FA7B9E8-9B60-A5B8-5C36-828C469510DC}"/>
              </a:ext>
            </a:extLst>
          </p:cNvPr>
          <p:cNvSpPr/>
          <p:nvPr/>
        </p:nvSpPr>
        <p:spPr>
          <a:xfrm>
            <a:off x="6985373" y="224000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691AA292-061F-5950-70F5-1EFD830C7007}"/>
              </a:ext>
            </a:extLst>
          </p:cNvPr>
          <p:cNvSpPr/>
          <p:nvPr/>
        </p:nvSpPr>
        <p:spPr>
          <a:xfrm>
            <a:off x="698537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B93E4446-51FC-C33C-1E7C-F3495320A904}"/>
              </a:ext>
            </a:extLst>
          </p:cNvPr>
          <p:cNvSpPr/>
          <p:nvPr/>
        </p:nvSpPr>
        <p:spPr>
          <a:xfrm>
            <a:off x="7044753" y="232601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5EC8786F-06BE-8BDA-01DD-DEC3C7C7A1BF}"/>
              </a:ext>
            </a:extLst>
          </p:cNvPr>
          <p:cNvCxnSpPr/>
          <p:nvPr/>
        </p:nvCxnSpPr>
        <p:spPr>
          <a:xfrm>
            <a:off x="6985373" y="232395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88F97F15-1A30-6348-D8A4-6CE4663541AC}"/>
              </a:ext>
            </a:extLst>
          </p:cNvPr>
          <p:cNvCxnSpPr/>
          <p:nvPr/>
        </p:nvCxnSpPr>
        <p:spPr>
          <a:xfrm>
            <a:off x="6961036" y="237341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EE3EF1F7-CD2C-107A-FE31-06C6A932EA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2C9036BB-7971-FF28-31C8-72C54AECA8B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70AA34B2-D68E-CF4D-A89F-32A74A03F3A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285818A9-8D7D-0453-8D9F-57276453F0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5D0135C4-3C4A-B8D4-572C-2918F6CA71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320E2004-009F-18A0-E15B-B2B76AB38095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1EF35362-3259-29CD-49F0-71F75F4FE8C7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145C41E1-4B57-8E42-B91C-48AC14B7426E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11C11DCD-C61C-9BF0-C831-22B222EFD9D4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7C42E155-D61E-586E-1BAB-252E1DE915D6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5" name="Textfeld 244">
            <a:extLst>
              <a:ext uri="{FF2B5EF4-FFF2-40B4-BE49-F238E27FC236}">
                <a16:creationId xmlns:a16="http://schemas.microsoft.com/office/drawing/2014/main" id="{29647CFE-9C8D-822F-5B2B-ED6572704126}"/>
              </a:ext>
            </a:extLst>
          </p:cNvPr>
          <p:cNvSpPr txBox="1"/>
          <p:nvPr/>
        </p:nvSpPr>
        <p:spPr>
          <a:xfrm>
            <a:off x="6862323" y="2354800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5EC5A3FA-21D3-3F61-F356-361F2B1391C7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77B21808-5896-E811-5EB4-F6F6A883D16F}"/>
              </a:ext>
            </a:extLst>
          </p:cNvPr>
          <p:cNvCxnSpPr>
            <a:cxnSpLocks/>
          </p:cNvCxnSpPr>
          <p:nvPr/>
        </p:nvCxnSpPr>
        <p:spPr>
          <a:xfrm>
            <a:off x="6484071" y="2009549"/>
            <a:ext cx="340743" cy="34030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8BF02175-680E-630D-D519-8C8CB75B6852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2B6143C7-739C-A260-4970-5B08D6F9753F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4617F149-D9E6-7A81-678E-11F8AC52B926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F2F6DE86-6FBB-DD70-920F-7F3B135434E1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F7BF6776-F74C-4B54-C7B9-B99822A569FE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5581327F-EFB8-C4AE-3CD3-3F558A15991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D89FBCF0-DEEB-EBCD-C407-7C24C0D052D4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7B8103CE-AAA7-CB28-54AD-F87E23D45D7F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77D4579-B025-7C92-7507-AF8AE61A69FB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787EDCA0-DB25-207A-F722-214E65399885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DCA1FC43-197E-5749-2B3B-84ACC337793A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D5E66677-85F0-625D-76F2-FF29555C03CE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54911D7E-6B56-6628-19E3-BFE64FB87B81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F6FFCCD-F181-1993-C64C-DBA2D8F626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39A4E81D-9F28-F953-0F75-336D3A08D3E9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8E8B83FB-9906-28F4-1D71-21E32B8F0989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6692CA56-281C-73DF-487E-171F6F88F7F1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58F54A6B-6D2C-25EA-FA00-5CC3498B2BF3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0255046D-9A90-31EB-FDEF-1DA656CF9445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5BFA3F81-C263-7C55-314B-EA54E8018002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2B8E3641-CB7C-E83A-800D-E10F48ADD0E2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66DF3392-DA10-A90E-65EE-6113809B114D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FE2C8BFB-75FF-6F86-A7FF-6C4648D04E31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7AF1272F-2F64-0842-7245-548B69971A6D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6984EAC3-4BC2-1CD5-3F19-54A4C43C841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57EE5E91-7EE8-08B1-DD64-82EB5C4A28E6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D36D2C8B-B69B-B07E-5D94-341A26758553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2C6F9D09-3BFD-70AB-E27E-7C15517DA10B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B535CB63-A3DD-112B-CB4A-A8F58A974826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AD101528-FB43-5CF5-1954-31A9489C616E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E89BB24-17AB-804A-60FB-A7039C773695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D7619809-181B-8935-18B7-59B34AAF723E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036A4EC-B11F-6487-8275-72552B2B1075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8DA6744D-E320-16CA-5A2B-71E5E98BFBA7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B81E29D4-0E0B-DEF6-4181-68E51EF05443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3C30A0EE-17CB-0B5B-D36B-F63D465FC7DA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C67E7466-C874-6602-6D59-C50A7555935A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5AC9F151-6FB4-9C66-31F6-ED3D61BA1ECE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205923EE-CECB-7B5F-C32A-2066A1F3C99E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383C377E-21E3-8E50-611E-F1C56FC2449E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6543F71C-29DD-FD99-9F23-DFE8FB07844A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1BBBCBF9-1BAA-871F-7EED-B4B423AD3413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6E75E708-8B7E-8413-84D4-3F96E75A116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35D97B6B-6647-C1AA-AC3B-31382E6A62EC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E7CB6595-C9A5-2F85-68EF-7F2BEBEE8CB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D9C01CF2-2A55-7A13-9B7B-9895BE9A7753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233F85DC-2D1D-BCC3-ECDB-AA7C0E096543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08E031B0-922C-3F61-F02B-453953AD4E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31B40795-6EB2-8312-2039-541D6831337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9641E72A-5749-5CD3-6B90-34AF252D77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7E08BD4D-27C4-6C97-298E-AD0FC2C56F2F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8E2A27BA-EEFF-362E-4CC3-C00FE3DEDFF2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EC59AA57-1158-05D2-B124-1448821E7802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7D8B6DA3-5DEE-AABF-8690-5E05AEAD92D5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87757C2-35FA-EC55-25F3-DB7D6BBAFF44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3BAD3677-D22A-FF94-52D7-C9241B770808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DECE380-2EF8-7710-AC26-92651001B8D3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4F87D362-509E-5180-62C8-2EC729097731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543E9AA7-8ED1-5122-E6BA-B94CEE45FE66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61200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714560-2A8C-C75B-9542-432408F07E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B052709-22B4-1C15-BD17-4282DA220D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052709-22B4-1C15-BD17-4282DA220D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226CCDE0-E6DE-8EC2-4DFE-4B8466A648D9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6D7A44BB-6E81-AE86-3D88-E6EEF9BD1039}"/>
              </a:ext>
            </a:extLst>
          </p:cNvPr>
          <p:cNvSpPr/>
          <p:nvPr/>
        </p:nvSpPr>
        <p:spPr>
          <a:xfrm>
            <a:off x="3528632" y="5299711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E96797-6F19-CF45-0C8D-4FAD8FF97B22}"/>
              </a:ext>
            </a:extLst>
          </p:cNvPr>
          <p:cNvSpPr/>
          <p:nvPr/>
        </p:nvSpPr>
        <p:spPr>
          <a:xfrm>
            <a:off x="1504274" y="3687435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B116E10B-F7C5-6185-3EFE-08C9BBCCD80A}"/>
              </a:ext>
            </a:extLst>
          </p:cNvPr>
          <p:cNvSpPr/>
          <p:nvPr/>
        </p:nvSpPr>
        <p:spPr>
          <a:xfrm>
            <a:off x="1510917" y="1005703"/>
            <a:ext cx="9191625" cy="1617090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8DB07AD-638A-5D4E-6B51-320AA94CDF82}"/>
              </a:ext>
            </a:extLst>
          </p:cNvPr>
          <p:cNvSpPr/>
          <p:nvPr/>
        </p:nvSpPr>
        <p:spPr>
          <a:xfrm>
            <a:off x="3528632" y="3680588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993C21D1-2749-4A23-EEE7-AC997EAC0B8C}"/>
              </a:ext>
            </a:extLst>
          </p:cNvPr>
          <p:cNvSpPr/>
          <p:nvPr/>
        </p:nvSpPr>
        <p:spPr>
          <a:xfrm>
            <a:off x="3528632" y="1003777"/>
            <a:ext cx="7288376" cy="1617090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F1D40FE-C9C0-3F3B-CA0A-A9056089CF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26340" y="1261698"/>
            <a:ext cx="363133" cy="36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A0468249-241F-DEE5-8890-59257C7A6F14}"/>
              </a:ext>
            </a:extLst>
          </p:cNvPr>
          <p:cNvSpPr txBox="1"/>
          <p:nvPr/>
        </p:nvSpPr>
        <p:spPr>
          <a:xfrm>
            <a:off x="3711459" y="1021200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A7155B4E-2695-1B84-4C7C-024DA388D9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77362" y="1009272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D9E7EBC0-B0F2-1D9C-DD8C-658D74684C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53782" y="978743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8BBD2104-9FBC-9F3C-5776-D4A23352B8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422437"/>
              </p:ext>
            </p:extLst>
          </p:nvPr>
        </p:nvGraphicFramePr>
        <p:xfrm>
          <a:off x="7939533" y="141636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698E4BA9-DC8A-F3F2-14C2-5C71610B7CBE}"/>
              </a:ext>
            </a:extLst>
          </p:cNvPr>
          <p:cNvSpPr txBox="1"/>
          <p:nvPr/>
        </p:nvSpPr>
        <p:spPr>
          <a:xfrm>
            <a:off x="4299179" y="653779"/>
            <a:ext cx="56601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ptos" panose="02110004020202020204"/>
              </a:rPr>
              <a:t>Supplier | Multi Customer per Item | No specific Data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7B6AEBF5-FEB8-FB3F-8384-3669899D238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113" y="1536532"/>
            <a:ext cx="193532" cy="193532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3BA01537-7B54-BB92-9F8A-75DCE5993A0F}"/>
              </a:ext>
            </a:extLst>
          </p:cNvPr>
          <p:cNvSpPr txBox="1"/>
          <p:nvPr/>
        </p:nvSpPr>
        <p:spPr>
          <a:xfrm>
            <a:off x="2914442" y="1057562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2AE76B03-9BA2-85EC-392A-63D306095D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275" y="148357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DC0220CF-2132-F27C-0525-CA329796A1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1871364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3C09CBF-17FB-1FE8-0140-04CBE6EB4778}"/>
              </a:ext>
            </a:extLst>
          </p:cNvPr>
          <p:cNvSpPr txBox="1"/>
          <p:nvPr/>
        </p:nvSpPr>
        <p:spPr>
          <a:xfrm>
            <a:off x="2451327" y="105756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CBD82EE0-522B-4CA9-426B-A88EB7A6FAE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01113" y="1918680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04031ACF-CEC8-904B-CA9E-9CE6841A00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01113" y="2293269"/>
            <a:ext cx="193532" cy="193532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25C6005F-89CF-30FF-9932-805D9DCF7784}"/>
              </a:ext>
            </a:extLst>
          </p:cNvPr>
          <p:cNvSpPr/>
          <p:nvPr/>
        </p:nvSpPr>
        <p:spPr>
          <a:xfrm>
            <a:off x="3566218" y="1330519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DE7401D5-BD80-8670-AFD6-9E118BCC6801}"/>
              </a:ext>
            </a:extLst>
          </p:cNvPr>
          <p:cNvCxnSpPr>
            <a:cxnSpLocks/>
            <a:stCxn id="61" idx="3"/>
          </p:cNvCxnSpPr>
          <p:nvPr/>
        </p:nvCxnSpPr>
        <p:spPr>
          <a:xfrm>
            <a:off x="3194645" y="1633298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3AA28EE4-7016-5BAD-9775-5AEA6B149D0E}"/>
              </a:ext>
            </a:extLst>
          </p:cNvPr>
          <p:cNvCxnSpPr/>
          <p:nvPr/>
        </p:nvCxnSpPr>
        <p:spPr>
          <a:xfrm>
            <a:off x="3194645" y="2013151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4BF7B75-3AD7-23E2-9969-6906FFC7A874}"/>
              </a:ext>
            </a:extLst>
          </p:cNvPr>
          <p:cNvCxnSpPr/>
          <p:nvPr/>
        </p:nvCxnSpPr>
        <p:spPr>
          <a:xfrm>
            <a:off x="3194645" y="239459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DAD57C4C-BFB9-79DC-5D19-2A9381A8AC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3946" y="3989146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13690518-5A4B-E623-F50D-265D78DB36A1}"/>
              </a:ext>
            </a:extLst>
          </p:cNvPr>
          <p:cNvSpPr txBox="1"/>
          <p:nvPr/>
        </p:nvSpPr>
        <p:spPr>
          <a:xfrm>
            <a:off x="3719065" y="3748648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F27A9DEB-CADA-D394-9CAD-6AA4796317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84968" y="3736720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4AB0880B-2B8C-77C6-89A9-3EFE1215B4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61388" y="3706191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65035BE5-C5F5-00A6-70B3-267BB97C8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0456463"/>
              </p:ext>
            </p:extLst>
          </p:nvPr>
        </p:nvGraphicFramePr>
        <p:xfrm>
          <a:off x="7947139" y="4143817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EBA0F36F-E3C4-68F9-14DA-714AFA6D3401}"/>
              </a:ext>
            </a:extLst>
          </p:cNvPr>
          <p:cNvSpPr txBox="1"/>
          <p:nvPr/>
        </p:nvSpPr>
        <p:spPr>
          <a:xfrm>
            <a:off x="1464529" y="4229369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F5057097-D300-130B-9265-A291EE18E58E}"/>
              </a:ext>
            </a:extLst>
          </p:cNvPr>
          <p:cNvSpPr txBox="1"/>
          <p:nvPr/>
        </p:nvSpPr>
        <p:spPr>
          <a:xfrm>
            <a:off x="2922048" y="3785010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EF2FFE78-5233-D381-C70A-5D51C45738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33881" y="4211023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C3D4FE42-53A1-1398-67B8-C50F180E1F0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33881" y="4598812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1182DF12-14CD-54C2-28FF-6F5BC66AF541}"/>
              </a:ext>
            </a:extLst>
          </p:cNvPr>
          <p:cNvSpPr txBox="1"/>
          <p:nvPr/>
        </p:nvSpPr>
        <p:spPr>
          <a:xfrm>
            <a:off x="2458933" y="3785010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2E70FAE0-BC87-4860-C1FF-05280B9FDF65}"/>
              </a:ext>
            </a:extLst>
          </p:cNvPr>
          <p:cNvSpPr txBox="1"/>
          <p:nvPr/>
        </p:nvSpPr>
        <p:spPr>
          <a:xfrm>
            <a:off x="1464529" y="4600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E5873555-01E2-190F-1EC8-684DC8BF63E1}"/>
              </a:ext>
            </a:extLst>
          </p:cNvPr>
          <p:cNvSpPr txBox="1"/>
          <p:nvPr/>
        </p:nvSpPr>
        <p:spPr>
          <a:xfrm>
            <a:off x="1464529" y="498703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79A585CB-C7D9-CB0F-9662-1EFF285C6291}"/>
              </a:ext>
            </a:extLst>
          </p:cNvPr>
          <p:cNvCxnSpPr>
            <a:cxnSpLocks/>
          </p:cNvCxnSpPr>
          <p:nvPr/>
        </p:nvCxnSpPr>
        <p:spPr>
          <a:xfrm>
            <a:off x="3202251" y="43607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64C4A22E-0D4B-218A-1989-4BEC0E16948D}"/>
              </a:ext>
            </a:extLst>
          </p:cNvPr>
          <p:cNvCxnSpPr/>
          <p:nvPr/>
        </p:nvCxnSpPr>
        <p:spPr>
          <a:xfrm>
            <a:off x="3202251" y="47405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656F2B45-46EC-A730-4946-38C754F5FDFA}"/>
              </a:ext>
            </a:extLst>
          </p:cNvPr>
          <p:cNvCxnSpPr/>
          <p:nvPr/>
        </p:nvCxnSpPr>
        <p:spPr>
          <a:xfrm>
            <a:off x="3202251" y="51220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2222F874-0B7D-AD07-6515-0E8E66673429}"/>
              </a:ext>
            </a:extLst>
          </p:cNvPr>
          <p:cNvSpPr/>
          <p:nvPr/>
        </p:nvSpPr>
        <p:spPr>
          <a:xfrm>
            <a:off x="3562958" y="3988692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E4132257-6AEC-8EF8-A720-154F3152F65A}"/>
              </a:ext>
            </a:extLst>
          </p:cNvPr>
          <p:cNvSpPr txBox="1"/>
          <p:nvPr/>
        </p:nvSpPr>
        <p:spPr>
          <a:xfrm>
            <a:off x="6663196" y="3759886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EAAC0D95-F790-29EC-330E-2517BDAE53C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BA8DAFD2-5570-BB6A-8743-DB17D19ED696}"/>
              </a:ext>
            </a:extLst>
          </p:cNvPr>
          <p:cNvSpPr txBox="1"/>
          <p:nvPr/>
        </p:nvSpPr>
        <p:spPr>
          <a:xfrm>
            <a:off x="1504753" y="151788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49D5BB78-DAA4-54CD-6DDD-1CC074087672}"/>
              </a:ext>
            </a:extLst>
          </p:cNvPr>
          <p:cNvSpPr txBox="1"/>
          <p:nvPr/>
        </p:nvSpPr>
        <p:spPr>
          <a:xfrm>
            <a:off x="1504753" y="188904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5446A108-9DED-1FA6-9789-CF0D6F3833A2}"/>
              </a:ext>
            </a:extLst>
          </p:cNvPr>
          <p:cNvSpPr txBox="1"/>
          <p:nvPr/>
        </p:nvSpPr>
        <p:spPr>
          <a:xfrm>
            <a:off x="1504753" y="22755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FFB789FC-8167-3795-D5DC-AA9F03CFA2B2}"/>
              </a:ext>
            </a:extLst>
          </p:cNvPr>
          <p:cNvSpPr txBox="1"/>
          <p:nvPr/>
        </p:nvSpPr>
        <p:spPr>
          <a:xfrm>
            <a:off x="8872251" y="1137307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88DF68EB-412F-8463-CA94-E3CD44E3D79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94470" y="4268256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5CFEFDC-B5C4-00AB-0CA0-E73D93658D5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4470" y="4650404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7803DCF7-EC29-C1E1-463C-C865113F13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94470" y="5024993"/>
            <a:ext cx="193532" cy="193532"/>
          </a:xfrm>
          <a:prstGeom prst="rect">
            <a:avLst/>
          </a:prstGeom>
        </p:spPr>
      </p:pic>
      <p:sp>
        <p:nvSpPr>
          <p:cNvPr id="175" name="Textfeld 174">
            <a:extLst>
              <a:ext uri="{FF2B5EF4-FFF2-40B4-BE49-F238E27FC236}">
                <a16:creationId xmlns:a16="http://schemas.microsoft.com/office/drawing/2014/main" id="{6F29AD66-C9C4-1C2B-77C6-4AB1E6382663}"/>
              </a:ext>
            </a:extLst>
          </p:cNvPr>
          <p:cNvSpPr txBox="1"/>
          <p:nvPr/>
        </p:nvSpPr>
        <p:spPr>
          <a:xfrm>
            <a:off x="4025761" y="2670549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E78C199-E9B2-BD71-D5B1-E1A764BB13E6}"/>
              </a:ext>
            </a:extLst>
          </p:cNvPr>
          <p:cNvSpPr txBox="1"/>
          <p:nvPr/>
        </p:nvSpPr>
        <p:spPr>
          <a:xfrm>
            <a:off x="8507157" y="2645901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77" name="Textfeld 176">
            <a:extLst>
              <a:ext uri="{FF2B5EF4-FFF2-40B4-BE49-F238E27FC236}">
                <a16:creationId xmlns:a16="http://schemas.microsoft.com/office/drawing/2014/main" id="{EED004AB-9615-7E6A-58EA-2C572AA5A0EE}"/>
              </a:ext>
            </a:extLst>
          </p:cNvPr>
          <p:cNvSpPr txBox="1"/>
          <p:nvPr/>
        </p:nvSpPr>
        <p:spPr>
          <a:xfrm>
            <a:off x="5972214" y="2679556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DC69111-E908-12D5-FCCF-53998B3C90FC}"/>
              </a:ext>
            </a:extLst>
          </p:cNvPr>
          <p:cNvSpPr/>
          <p:nvPr/>
        </p:nvSpPr>
        <p:spPr>
          <a:xfrm>
            <a:off x="3528632" y="26208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42F9398F-56CF-5175-CAC6-57B63D4F6BAF}"/>
              </a:ext>
            </a:extLst>
          </p:cNvPr>
          <p:cNvSpPr txBox="1"/>
          <p:nvPr/>
        </p:nvSpPr>
        <p:spPr>
          <a:xfrm>
            <a:off x="4025761" y="5349393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F842DFC3-FD77-3251-ED93-6ED45B258579}"/>
              </a:ext>
            </a:extLst>
          </p:cNvPr>
          <p:cNvSpPr txBox="1"/>
          <p:nvPr/>
        </p:nvSpPr>
        <p:spPr>
          <a:xfrm>
            <a:off x="8507157" y="5324745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5DC4F55C-4C22-7C31-B7A7-E505AB4CA4DE}"/>
              </a:ext>
            </a:extLst>
          </p:cNvPr>
          <p:cNvSpPr txBox="1"/>
          <p:nvPr/>
        </p:nvSpPr>
        <p:spPr>
          <a:xfrm>
            <a:off x="5972214" y="5358400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AC815FE3-9647-0B96-4A41-A57AC91FB6B2}"/>
              </a:ext>
            </a:extLst>
          </p:cNvPr>
          <p:cNvSpPr/>
          <p:nvPr/>
        </p:nvSpPr>
        <p:spPr>
          <a:xfrm>
            <a:off x="1355559" y="812638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2352336-32FF-B7FD-5037-F164E2D0A81F}"/>
              </a:ext>
            </a:extLst>
          </p:cNvPr>
          <p:cNvSpPr/>
          <p:nvPr/>
        </p:nvSpPr>
        <p:spPr>
          <a:xfrm>
            <a:off x="1306341" y="3476012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" name="Grafik 3" descr="Schraubenschlüssel Silhouette">
            <a:extLst>
              <a:ext uri="{FF2B5EF4-FFF2-40B4-BE49-F238E27FC236}">
                <a16:creationId xmlns:a16="http://schemas.microsoft.com/office/drawing/2014/main" id="{7B98FFDB-C1D5-E6B2-2287-A02EA63798A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6275" y="2234595"/>
            <a:ext cx="230400" cy="230400"/>
          </a:xfrm>
          <a:prstGeom prst="rect">
            <a:avLst/>
          </a:prstGeom>
        </p:spPr>
      </p:pic>
      <p:sp>
        <p:nvSpPr>
          <p:cNvPr id="141" name="Rechteck 140">
            <a:extLst>
              <a:ext uri="{FF2B5EF4-FFF2-40B4-BE49-F238E27FC236}">
                <a16:creationId xmlns:a16="http://schemas.microsoft.com/office/drawing/2014/main" id="{F50E51B6-EB59-2CA7-7E2A-31B2C7F74EF9}"/>
              </a:ext>
            </a:extLst>
          </p:cNvPr>
          <p:cNvSpPr/>
          <p:nvPr/>
        </p:nvSpPr>
        <p:spPr>
          <a:xfrm>
            <a:off x="2467077" y="182898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61F5806F-0F11-E1BF-FB6E-F3DD3D27EE97}"/>
              </a:ext>
            </a:extLst>
          </p:cNvPr>
          <p:cNvSpPr txBox="1"/>
          <p:nvPr/>
        </p:nvSpPr>
        <p:spPr>
          <a:xfrm>
            <a:off x="2660340" y="214083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4A96BB85-2A82-E0BF-F5F5-8636BEE72901}"/>
              </a:ext>
            </a:extLst>
          </p:cNvPr>
          <p:cNvSpPr txBox="1"/>
          <p:nvPr/>
        </p:nvSpPr>
        <p:spPr>
          <a:xfrm>
            <a:off x="1510917" y="2683936"/>
            <a:ext cx="1954791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4FD6A6EC-20EA-A72E-1CC4-0AFA483C06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10525" y="4958745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78F185CC-17F6-024F-12E6-0595BA80A695}"/>
              </a:ext>
            </a:extLst>
          </p:cNvPr>
          <p:cNvSpPr/>
          <p:nvPr/>
        </p:nvSpPr>
        <p:spPr>
          <a:xfrm>
            <a:off x="2451327" y="4553139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E2FE1D91-9DD9-D8A0-C487-910609056162}"/>
              </a:ext>
            </a:extLst>
          </p:cNvPr>
          <p:cNvSpPr txBox="1"/>
          <p:nvPr/>
        </p:nvSpPr>
        <p:spPr>
          <a:xfrm>
            <a:off x="2641475" y="485980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3EE3149B-8B63-3593-E560-D46FF79DF743}"/>
              </a:ext>
            </a:extLst>
          </p:cNvPr>
          <p:cNvSpPr txBox="1"/>
          <p:nvPr/>
        </p:nvSpPr>
        <p:spPr>
          <a:xfrm>
            <a:off x="1511893" y="5321468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91" name="Pfeil: nach rechts 190">
            <a:extLst>
              <a:ext uri="{FF2B5EF4-FFF2-40B4-BE49-F238E27FC236}">
                <a16:creationId xmlns:a16="http://schemas.microsoft.com/office/drawing/2014/main" id="{DDA40809-247C-5862-84DF-10C4028D6DCB}"/>
              </a:ext>
            </a:extLst>
          </p:cNvPr>
          <p:cNvSpPr/>
          <p:nvPr/>
        </p:nvSpPr>
        <p:spPr>
          <a:xfrm>
            <a:off x="4935390" y="150990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192" name="Grafik 191" descr="Cmd (Terminal) Silhouette">
            <a:extLst>
              <a:ext uri="{FF2B5EF4-FFF2-40B4-BE49-F238E27FC236}">
                <a16:creationId xmlns:a16="http://schemas.microsoft.com/office/drawing/2014/main" id="{0EDEBC75-0686-CCAC-90A3-60C63F95279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9956" y="1549330"/>
            <a:ext cx="193532" cy="193532"/>
          </a:xfrm>
          <a:prstGeom prst="rect">
            <a:avLst/>
          </a:prstGeom>
        </p:spPr>
      </p:pic>
      <p:sp>
        <p:nvSpPr>
          <p:cNvPr id="193" name="Pfeil: nach rechts 192">
            <a:extLst>
              <a:ext uri="{FF2B5EF4-FFF2-40B4-BE49-F238E27FC236}">
                <a16:creationId xmlns:a16="http://schemas.microsoft.com/office/drawing/2014/main" id="{29E3094E-C0D6-9B50-C482-816851FC03CC}"/>
              </a:ext>
            </a:extLst>
          </p:cNvPr>
          <p:cNvSpPr/>
          <p:nvPr/>
        </p:nvSpPr>
        <p:spPr>
          <a:xfrm>
            <a:off x="4929713" y="1882716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A3AEC28D-9FB8-9FCC-7CAD-018CC474E08A}"/>
              </a:ext>
            </a:extLst>
          </p:cNvPr>
          <p:cNvSpPr/>
          <p:nvPr/>
        </p:nvSpPr>
        <p:spPr>
          <a:xfrm>
            <a:off x="7122151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FC562C3E-F024-5738-AC95-9478FE2E9466}"/>
              </a:ext>
            </a:extLst>
          </p:cNvPr>
          <p:cNvSpPr/>
          <p:nvPr/>
        </p:nvSpPr>
        <p:spPr>
          <a:xfrm>
            <a:off x="712215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D7F51F18-D9D1-E205-4C10-B97665D81250}"/>
              </a:ext>
            </a:extLst>
          </p:cNvPr>
          <p:cNvSpPr/>
          <p:nvPr/>
        </p:nvSpPr>
        <p:spPr>
          <a:xfrm>
            <a:off x="7181531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EFE10FA8-EB41-A578-9495-C71D43F898D0}"/>
              </a:ext>
            </a:extLst>
          </p:cNvPr>
          <p:cNvCxnSpPr/>
          <p:nvPr/>
        </p:nvCxnSpPr>
        <p:spPr>
          <a:xfrm>
            <a:off x="7122151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8" name="Rechteck 197">
            <a:extLst>
              <a:ext uri="{FF2B5EF4-FFF2-40B4-BE49-F238E27FC236}">
                <a16:creationId xmlns:a16="http://schemas.microsoft.com/office/drawing/2014/main" id="{1B5F6AB1-31DC-D569-7020-E8916DCFC326}"/>
              </a:ext>
            </a:extLst>
          </p:cNvPr>
          <p:cNvSpPr/>
          <p:nvPr/>
        </p:nvSpPr>
        <p:spPr>
          <a:xfrm>
            <a:off x="7366284" y="149619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64BC82DF-B090-35A0-F2D8-0547D350DB1B}"/>
              </a:ext>
            </a:extLst>
          </p:cNvPr>
          <p:cNvSpPr/>
          <p:nvPr/>
        </p:nvSpPr>
        <p:spPr>
          <a:xfrm>
            <a:off x="736628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B3C47011-2967-FAFE-5D98-D7AB63D87D37}"/>
              </a:ext>
            </a:extLst>
          </p:cNvPr>
          <p:cNvSpPr/>
          <p:nvPr/>
        </p:nvSpPr>
        <p:spPr>
          <a:xfrm>
            <a:off x="7425664" y="158220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498E1151-C21C-9267-C57A-424CB9FE9C56}"/>
              </a:ext>
            </a:extLst>
          </p:cNvPr>
          <p:cNvCxnSpPr/>
          <p:nvPr/>
        </p:nvCxnSpPr>
        <p:spPr>
          <a:xfrm>
            <a:off x="7366284" y="158013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B8A95A56-DDF6-F944-CD8B-2EECA0592C40}"/>
              </a:ext>
            </a:extLst>
          </p:cNvPr>
          <p:cNvSpPr/>
          <p:nvPr/>
        </p:nvSpPr>
        <p:spPr>
          <a:xfrm>
            <a:off x="7240885" y="150164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7E261ECA-FA82-2887-8BF1-DBF93FC40717}"/>
              </a:ext>
            </a:extLst>
          </p:cNvPr>
          <p:cNvSpPr/>
          <p:nvPr/>
        </p:nvSpPr>
        <p:spPr>
          <a:xfrm>
            <a:off x="724088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12A4D4B5-7011-7BAC-70C0-09516D411F04}"/>
              </a:ext>
            </a:extLst>
          </p:cNvPr>
          <p:cNvSpPr/>
          <p:nvPr/>
        </p:nvSpPr>
        <p:spPr>
          <a:xfrm>
            <a:off x="7300265" y="158765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0897E85C-87C3-2764-CA70-7F04CBDCB764}"/>
              </a:ext>
            </a:extLst>
          </p:cNvPr>
          <p:cNvCxnSpPr/>
          <p:nvPr/>
        </p:nvCxnSpPr>
        <p:spPr>
          <a:xfrm>
            <a:off x="7240885" y="158558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F60C8D4D-6F1B-A218-45AB-1EC82DC62DC0}"/>
              </a:ext>
            </a:extLst>
          </p:cNvPr>
          <p:cNvSpPr/>
          <p:nvPr/>
        </p:nvSpPr>
        <p:spPr>
          <a:xfrm>
            <a:off x="7000999" y="149874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91B5DC08-17E7-FC42-F6E1-63D14C65CFE0}"/>
              </a:ext>
            </a:extLst>
          </p:cNvPr>
          <p:cNvSpPr/>
          <p:nvPr/>
        </p:nvSpPr>
        <p:spPr>
          <a:xfrm>
            <a:off x="700099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40B1CB07-3C59-88B0-3B9A-C3340A9286DD}"/>
              </a:ext>
            </a:extLst>
          </p:cNvPr>
          <p:cNvSpPr/>
          <p:nvPr/>
        </p:nvSpPr>
        <p:spPr>
          <a:xfrm>
            <a:off x="7060379" y="158475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A5779185-4607-BD91-4517-16EC1D287EE3}"/>
              </a:ext>
            </a:extLst>
          </p:cNvPr>
          <p:cNvCxnSpPr/>
          <p:nvPr/>
        </p:nvCxnSpPr>
        <p:spPr>
          <a:xfrm>
            <a:off x="7000999" y="158269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82034A1-FE4E-7D81-02AC-DDA158CB14DD}"/>
              </a:ext>
            </a:extLst>
          </p:cNvPr>
          <p:cNvCxnSpPr/>
          <p:nvPr/>
        </p:nvCxnSpPr>
        <p:spPr>
          <a:xfrm>
            <a:off x="6976662" y="163215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596824E5-C7CD-D34D-76AF-9DC0BE0C0008}"/>
              </a:ext>
            </a:extLst>
          </p:cNvPr>
          <p:cNvSpPr txBox="1"/>
          <p:nvPr/>
        </p:nvSpPr>
        <p:spPr>
          <a:xfrm>
            <a:off x="6834029" y="1624151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7529A739-6DD7-7709-FB8E-43F340F79773}"/>
              </a:ext>
            </a:extLst>
          </p:cNvPr>
          <p:cNvSpPr/>
          <p:nvPr/>
        </p:nvSpPr>
        <p:spPr>
          <a:xfrm>
            <a:off x="7112936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44BA8CB9-FB15-F866-D648-82335D12560E}"/>
              </a:ext>
            </a:extLst>
          </p:cNvPr>
          <p:cNvSpPr/>
          <p:nvPr/>
        </p:nvSpPr>
        <p:spPr>
          <a:xfrm>
            <a:off x="711293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D6C9D4A-89FD-3E05-4544-8C49ECAB3685}"/>
              </a:ext>
            </a:extLst>
          </p:cNvPr>
          <p:cNvSpPr/>
          <p:nvPr/>
        </p:nvSpPr>
        <p:spPr>
          <a:xfrm>
            <a:off x="7172316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B966C39-36FC-86EC-689A-BDBF5F6247C3}"/>
              </a:ext>
            </a:extLst>
          </p:cNvPr>
          <p:cNvCxnSpPr/>
          <p:nvPr/>
        </p:nvCxnSpPr>
        <p:spPr>
          <a:xfrm>
            <a:off x="7112936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16" name="Rechteck 215">
            <a:extLst>
              <a:ext uri="{FF2B5EF4-FFF2-40B4-BE49-F238E27FC236}">
                <a16:creationId xmlns:a16="http://schemas.microsoft.com/office/drawing/2014/main" id="{8CF5E4BE-1415-B634-C43D-FDB417803D65}"/>
              </a:ext>
            </a:extLst>
          </p:cNvPr>
          <p:cNvSpPr/>
          <p:nvPr/>
        </p:nvSpPr>
        <p:spPr>
          <a:xfrm>
            <a:off x="6991784" y="186542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C49F027-0392-BBFD-425C-48BA32A3E8F3}"/>
              </a:ext>
            </a:extLst>
          </p:cNvPr>
          <p:cNvSpPr/>
          <p:nvPr/>
        </p:nvSpPr>
        <p:spPr>
          <a:xfrm>
            <a:off x="699178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77BA91C7-AAEF-6A5F-D6A1-463BEDE3DD8F}"/>
              </a:ext>
            </a:extLst>
          </p:cNvPr>
          <p:cNvSpPr/>
          <p:nvPr/>
        </p:nvSpPr>
        <p:spPr>
          <a:xfrm>
            <a:off x="7051164" y="195143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C78C1B82-5978-11A7-0B8B-0C93D65B90A7}"/>
              </a:ext>
            </a:extLst>
          </p:cNvPr>
          <p:cNvCxnSpPr/>
          <p:nvPr/>
        </p:nvCxnSpPr>
        <p:spPr>
          <a:xfrm>
            <a:off x="6991784" y="194936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C192EBE6-AB3B-E6D4-0236-4FB5D4AAE74B}"/>
              </a:ext>
            </a:extLst>
          </p:cNvPr>
          <p:cNvCxnSpPr/>
          <p:nvPr/>
        </p:nvCxnSpPr>
        <p:spPr>
          <a:xfrm>
            <a:off x="6967447" y="199882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D10C79AA-5D2F-4C83-7B5D-088E66454959}"/>
              </a:ext>
            </a:extLst>
          </p:cNvPr>
          <p:cNvSpPr txBox="1"/>
          <p:nvPr/>
        </p:nvSpPr>
        <p:spPr>
          <a:xfrm>
            <a:off x="6778364" y="1995425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58AC9588-07BB-246A-608C-087B9D82C12B}"/>
              </a:ext>
            </a:extLst>
          </p:cNvPr>
          <p:cNvSpPr/>
          <p:nvPr/>
        </p:nvSpPr>
        <p:spPr>
          <a:xfrm>
            <a:off x="7335875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44196E6-90DD-95CA-3F0A-FCFCF8FD7C56}"/>
              </a:ext>
            </a:extLst>
          </p:cNvPr>
          <p:cNvSpPr/>
          <p:nvPr/>
        </p:nvSpPr>
        <p:spPr>
          <a:xfrm>
            <a:off x="733587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0B96F255-C709-02CB-0CAB-75DAE334DA9C}"/>
              </a:ext>
            </a:extLst>
          </p:cNvPr>
          <p:cNvSpPr/>
          <p:nvPr/>
        </p:nvSpPr>
        <p:spPr>
          <a:xfrm>
            <a:off x="7395255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693B7F9D-4AC8-E335-56A4-FB83E8B45CDA}"/>
              </a:ext>
            </a:extLst>
          </p:cNvPr>
          <p:cNvCxnSpPr/>
          <p:nvPr/>
        </p:nvCxnSpPr>
        <p:spPr>
          <a:xfrm>
            <a:off x="7335875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26" name="Rechteck 225">
            <a:extLst>
              <a:ext uri="{FF2B5EF4-FFF2-40B4-BE49-F238E27FC236}">
                <a16:creationId xmlns:a16="http://schemas.microsoft.com/office/drawing/2014/main" id="{BC75C188-DD91-D1E1-3564-465107EF2C49}"/>
              </a:ext>
            </a:extLst>
          </p:cNvPr>
          <p:cNvSpPr/>
          <p:nvPr/>
        </p:nvSpPr>
        <p:spPr>
          <a:xfrm>
            <a:off x="7454609" y="186934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0711E97C-E176-E6CE-6F8D-3E10430CF106}"/>
              </a:ext>
            </a:extLst>
          </p:cNvPr>
          <p:cNvSpPr/>
          <p:nvPr/>
        </p:nvSpPr>
        <p:spPr>
          <a:xfrm>
            <a:off x="745460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D6F3A9E0-D218-CA29-AA1E-2EE13E469D0F}"/>
              </a:ext>
            </a:extLst>
          </p:cNvPr>
          <p:cNvSpPr/>
          <p:nvPr/>
        </p:nvSpPr>
        <p:spPr>
          <a:xfrm>
            <a:off x="7513989" y="195535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A707041B-109F-4DDC-7650-15AE88B1D4FB}"/>
              </a:ext>
            </a:extLst>
          </p:cNvPr>
          <p:cNvCxnSpPr/>
          <p:nvPr/>
        </p:nvCxnSpPr>
        <p:spPr>
          <a:xfrm>
            <a:off x="7454609" y="195328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0" name="Rechteck 229">
            <a:extLst>
              <a:ext uri="{FF2B5EF4-FFF2-40B4-BE49-F238E27FC236}">
                <a16:creationId xmlns:a16="http://schemas.microsoft.com/office/drawing/2014/main" id="{247DB9D1-0E46-C26B-08B0-6DAF9E2AEBF5}"/>
              </a:ext>
            </a:extLst>
          </p:cNvPr>
          <p:cNvSpPr/>
          <p:nvPr/>
        </p:nvSpPr>
        <p:spPr>
          <a:xfrm>
            <a:off x="7214723" y="186645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B6580442-546B-3519-49E7-A3975059BF48}"/>
              </a:ext>
            </a:extLst>
          </p:cNvPr>
          <p:cNvSpPr/>
          <p:nvPr/>
        </p:nvSpPr>
        <p:spPr>
          <a:xfrm>
            <a:off x="721472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2FA594-AA4D-E930-FD66-BBFF5887BA82}"/>
              </a:ext>
            </a:extLst>
          </p:cNvPr>
          <p:cNvSpPr/>
          <p:nvPr/>
        </p:nvSpPr>
        <p:spPr>
          <a:xfrm>
            <a:off x="7274103" y="195246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33" name="Gerader Verbinder 232">
            <a:extLst>
              <a:ext uri="{FF2B5EF4-FFF2-40B4-BE49-F238E27FC236}">
                <a16:creationId xmlns:a16="http://schemas.microsoft.com/office/drawing/2014/main" id="{B640FD26-770A-27A3-B9D5-EB1B2F90132A}"/>
              </a:ext>
            </a:extLst>
          </p:cNvPr>
          <p:cNvCxnSpPr/>
          <p:nvPr/>
        </p:nvCxnSpPr>
        <p:spPr>
          <a:xfrm>
            <a:off x="7214723" y="195039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235" name="Grafik 234" descr="Roboterhand Silhouette">
            <a:extLst>
              <a:ext uri="{FF2B5EF4-FFF2-40B4-BE49-F238E27FC236}">
                <a16:creationId xmlns:a16="http://schemas.microsoft.com/office/drawing/2014/main" id="{5A448802-53C0-C090-1628-D6B5793567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978" y="1457545"/>
            <a:ext cx="140737" cy="140737"/>
          </a:xfrm>
          <a:prstGeom prst="rect">
            <a:avLst/>
          </a:prstGeom>
        </p:spPr>
      </p:pic>
      <p:pic>
        <p:nvPicPr>
          <p:cNvPr id="236" name="Grafik 235" descr="Cmd (Terminal) Silhouette">
            <a:extLst>
              <a:ext uri="{FF2B5EF4-FFF2-40B4-BE49-F238E27FC236}">
                <a16:creationId xmlns:a16="http://schemas.microsoft.com/office/drawing/2014/main" id="{19DE6E9D-CB43-AEA9-8060-D659235BE9B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243686" y="1915805"/>
            <a:ext cx="193532" cy="193532"/>
          </a:xfrm>
          <a:prstGeom prst="rect">
            <a:avLst/>
          </a:prstGeom>
        </p:spPr>
      </p:pic>
      <p:pic>
        <p:nvPicPr>
          <p:cNvPr id="237" name="Grafik 236" descr="Cmd (Terminal) Silhouette">
            <a:extLst>
              <a:ext uri="{FF2B5EF4-FFF2-40B4-BE49-F238E27FC236}">
                <a16:creationId xmlns:a16="http://schemas.microsoft.com/office/drawing/2014/main" id="{852A50DB-8010-29A1-F6CF-E9515BE4675C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244321" y="2294943"/>
            <a:ext cx="193532" cy="193532"/>
          </a:xfrm>
          <a:prstGeom prst="rect">
            <a:avLst/>
          </a:prstGeom>
        </p:spPr>
      </p:pic>
      <p:pic>
        <p:nvPicPr>
          <p:cNvPr id="238" name="Grafik 237" descr="Roboterhand Silhouette">
            <a:extLst>
              <a:ext uri="{FF2B5EF4-FFF2-40B4-BE49-F238E27FC236}">
                <a16:creationId xmlns:a16="http://schemas.microsoft.com/office/drawing/2014/main" id="{33E9AB95-74B3-5FD0-919A-82288D47B2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61472" y="1828495"/>
            <a:ext cx="140737" cy="140737"/>
          </a:xfrm>
          <a:prstGeom prst="rect">
            <a:avLst/>
          </a:prstGeom>
        </p:spPr>
      </p:pic>
      <p:pic>
        <p:nvPicPr>
          <p:cNvPr id="239" name="Grafik 238" descr="Roboterhand Silhouette">
            <a:extLst>
              <a:ext uri="{FF2B5EF4-FFF2-40B4-BE49-F238E27FC236}">
                <a16:creationId xmlns:a16="http://schemas.microsoft.com/office/drawing/2014/main" id="{22DB1416-AB86-2096-048A-46ECD04EA0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5601" y="2204789"/>
            <a:ext cx="140737" cy="140737"/>
          </a:xfrm>
          <a:prstGeom prst="rect">
            <a:avLst/>
          </a:prstGeom>
        </p:spPr>
      </p:pic>
      <p:cxnSp>
        <p:nvCxnSpPr>
          <p:cNvPr id="240" name="Gerade Verbindung mit Pfeil 239">
            <a:extLst>
              <a:ext uri="{FF2B5EF4-FFF2-40B4-BE49-F238E27FC236}">
                <a16:creationId xmlns:a16="http://schemas.microsoft.com/office/drawing/2014/main" id="{F0B22CE9-3FF6-E897-0B3D-6BBE77C36510}"/>
              </a:ext>
            </a:extLst>
          </p:cNvPr>
          <p:cNvCxnSpPr/>
          <p:nvPr/>
        </p:nvCxnSpPr>
        <p:spPr>
          <a:xfrm>
            <a:off x="3879289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Gerade Verbindung mit Pfeil 240">
            <a:extLst>
              <a:ext uri="{FF2B5EF4-FFF2-40B4-BE49-F238E27FC236}">
                <a16:creationId xmlns:a16="http://schemas.microsoft.com/office/drawing/2014/main" id="{56C11F24-52D5-272B-C443-ADB641F61B8C}"/>
              </a:ext>
            </a:extLst>
          </p:cNvPr>
          <p:cNvCxnSpPr/>
          <p:nvPr/>
        </p:nvCxnSpPr>
        <p:spPr>
          <a:xfrm>
            <a:off x="3879289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2" name="Gerade Verbindung mit Pfeil 241">
            <a:extLst>
              <a:ext uri="{FF2B5EF4-FFF2-40B4-BE49-F238E27FC236}">
                <a16:creationId xmlns:a16="http://schemas.microsoft.com/office/drawing/2014/main" id="{028C0FAC-E024-DE5C-9007-F7F4CCE924BB}"/>
              </a:ext>
            </a:extLst>
          </p:cNvPr>
          <p:cNvCxnSpPr/>
          <p:nvPr/>
        </p:nvCxnSpPr>
        <p:spPr>
          <a:xfrm>
            <a:off x="3879289" y="2397544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14EBDD5-C3A5-D7FA-05A5-BEE7F1735880}"/>
              </a:ext>
            </a:extLst>
          </p:cNvPr>
          <p:cNvCxnSpPr/>
          <p:nvPr/>
        </p:nvCxnSpPr>
        <p:spPr>
          <a:xfrm>
            <a:off x="4529327" y="1636246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444A0FE2-CF05-BEDE-C0EF-4A5D85AD06B5}"/>
              </a:ext>
            </a:extLst>
          </p:cNvPr>
          <p:cNvCxnSpPr/>
          <p:nvPr/>
        </p:nvCxnSpPr>
        <p:spPr>
          <a:xfrm>
            <a:off x="452932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3" name="Gerade Verbindung mit Pfeil 312">
            <a:extLst>
              <a:ext uri="{FF2B5EF4-FFF2-40B4-BE49-F238E27FC236}">
                <a16:creationId xmlns:a16="http://schemas.microsoft.com/office/drawing/2014/main" id="{CE16A869-81E3-E5F6-C248-3C82474F9C3F}"/>
              </a:ext>
            </a:extLst>
          </p:cNvPr>
          <p:cNvCxnSpPr/>
          <p:nvPr/>
        </p:nvCxnSpPr>
        <p:spPr>
          <a:xfrm>
            <a:off x="6479707" y="201609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5" name="Textfeld 314">
            <a:extLst>
              <a:ext uri="{FF2B5EF4-FFF2-40B4-BE49-F238E27FC236}">
                <a16:creationId xmlns:a16="http://schemas.microsoft.com/office/drawing/2014/main" id="{CFA323DE-F5C7-C5E5-EFAE-F7BFB040946A}"/>
              </a:ext>
            </a:extLst>
          </p:cNvPr>
          <p:cNvSpPr txBox="1"/>
          <p:nvPr/>
        </p:nvSpPr>
        <p:spPr>
          <a:xfrm>
            <a:off x="6665616" y="1020884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C87D6444-B32D-E9AC-2343-CCBB25B98B50}"/>
              </a:ext>
            </a:extLst>
          </p:cNvPr>
          <p:cNvCxnSpPr/>
          <p:nvPr/>
        </p:nvCxnSpPr>
        <p:spPr>
          <a:xfrm>
            <a:off x="6460657" y="165414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Verbinder: gewinkelt 316">
            <a:extLst>
              <a:ext uri="{FF2B5EF4-FFF2-40B4-BE49-F238E27FC236}">
                <a16:creationId xmlns:a16="http://schemas.microsoft.com/office/drawing/2014/main" id="{35E224BE-9E1D-0FDF-3898-DE47D79C3FB5}"/>
              </a:ext>
            </a:extLst>
          </p:cNvPr>
          <p:cNvCxnSpPr>
            <a:cxnSpLocks/>
          </p:cNvCxnSpPr>
          <p:nvPr/>
        </p:nvCxnSpPr>
        <p:spPr>
          <a:xfrm flipV="1">
            <a:off x="4460268" y="215944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8" name="Textfeld 317">
            <a:extLst>
              <a:ext uri="{FF2B5EF4-FFF2-40B4-BE49-F238E27FC236}">
                <a16:creationId xmlns:a16="http://schemas.microsoft.com/office/drawing/2014/main" id="{12A3A4A1-8495-3660-D9BE-F70B9DA444E4}"/>
              </a:ext>
            </a:extLst>
          </p:cNvPr>
          <p:cNvSpPr txBox="1"/>
          <p:nvPr/>
        </p:nvSpPr>
        <p:spPr>
          <a:xfrm>
            <a:off x="4564324" y="1995675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1CFEEF3B-B48F-9F0E-FD10-5CF4C5349171}"/>
              </a:ext>
            </a:extLst>
          </p:cNvPr>
          <p:cNvSpPr/>
          <p:nvPr/>
        </p:nvSpPr>
        <p:spPr>
          <a:xfrm>
            <a:off x="4927561" y="4240492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F2E52826-B12F-F562-EFD3-185B54FB01B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242127" y="4279913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0A088321-54F4-8AA6-15D4-D646556730A5}"/>
              </a:ext>
            </a:extLst>
          </p:cNvPr>
          <p:cNvSpPr/>
          <p:nvPr/>
        </p:nvSpPr>
        <p:spPr>
          <a:xfrm>
            <a:off x="4921884" y="4613299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A68F4935-D0D3-2F77-D854-C1B14411220E}"/>
              </a:ext>
            </a:extLst>
          </p:cNvPr>
          <p:cNvSpPr/>
          <p:nvPr/>
        </p:nvSpPr>
        <p:spPr>
          <a:xfrm>
            <a:off x="7114322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31E04740-D66A-F02C-884C-B11FE3C9AAB4}"/>
              </a:ext>
            </a:extLst>
          </p:cNvPr>
          <p:cNvSpPr/>
          <p:nvPr/>
        </p:nvSpPr>
        <p:spPr>
          <a:xfrm>
            <a:off x="711432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550FB419-F532-CB3F-8883-3DD19B18008C}"/>
              </a:ext>
            </a:extLst>
          </p:cNvPr>
          <p:cNvSpPr/>
          <p:nvPr/>
        </p:nvSpPr>
        <p:spPr>
          <a:xfrm>
            <a:off x="7173702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F4513797-A325-5F8C-A15D-E23A61B943BB}"/>
              </a:ext>
            </a:extLst>
          </p:cNvPr>
          <p:cNvCxnSpPr/>
          <p:nvPr/>
        </p:nvCxnSpPr>
        <p:spPr>
          <a:xfrm>
            <a:off x="7114322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B1B12D96-5A64-0442-3E06-D0681111FADD}"/>
              </a:ext>
            </a:extLst>
          </p:cNvPr>
          <p:cNvSpPr/>
          <p:nvPr/>
        </p:nvSpPr>
        <p:spPr>
          <a:xfrm>
            <a:off x="7358455" y="4226776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77439DC-1D2C-E335-4244-27ABFC7A61D9}"/>
              </a:ext>
            </a:extLst>
          </p:cNvPr>
          <p:cNvSpPr/>
          <p:nvPr/>
        </p:nvSpPr>
        <p:spPr>
          <a:xfrm>
            <a:off x="735845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068182F9-6C55-D267-DF36-CA559F3DBE53}"/>
              </a:ext>
            </a:extLst>
          </p:cNvPr>
          <p:cNvSpPr/>
          <p:nvPr/>
        </p:nvSpPr>
        <p:spPr>
          <a:xfrm>
            <a:off x="7417835" y="431278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A1F5F547-12CC-4CEE-9F49-3B7B0663259C}"/>
              </a:ext>
            </a:extLst>
          </p:cNvPr>
          <p:cNvCxnSpPr/>
          <p:nvPr/>
        </p:nvCxnSpPr>
        <p:spPr>
          <a:xfrm>
            <a:off x="7358455" y="431071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6B8148A0-E701-2E7C-984D-47C6638D8E87}"/>
              </a:ext>
            </a:extLst>
          </p:cNvPr>
          <p:cNvSpPr/>
          <p:nvPr/>
        </p:nvSpPr>
        <p:spPr>
          <a:xfrm>
            <a:off x="7233056" y="423222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48BCB75D-F1F5-77BD-6586-9898EEB7209A}"/>
              </a:ext>
            </a:extLst>
          </p:cNvPr>
          <p:cNvSpPr/>
          <p:nvPr/>
        </p:nvSpPr>
        <p:spPr>
          <a:xfrm>
            <a:off x="723305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C868E782-5D77-FA7E-512A-CC4391ACFA25}"/>
              </a:ext>
            </a:extLst>
          </p:cNvPr>
          <p:cNvSpPr/>
          <p:nvPr/>
        </p:nvSpPr>
        <p:spPr>
          <a:xfrm>
            <a:off x="7292436" y="431823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9276C7AF-87EC-D63E-EF25-EE79D506E2BB}"/>
              </a:ext>
            </a:extLst>
          </p:cNvPr>
          <p:cNvCxnSpPr/>
          <p:nvPr/>
        </p:nvCxnSpPr>
        <p:spPr>
          <a:xfrm>
            <a:off x="7233056" y="431616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C3E200B9-36FD-8E10-55DA-57E407086D78}"/>
              </a:ext>
            </a:extLst>
          </p:cNvPr>
          <p:cNvSpPr/>
          <p:nvPr/>
        </p:nvSpPr>
        <p:spPr>
          <a:xfrm>
            <a:off x="6993170" y="422933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60D1F59A-1669-321D-DA29-6DAE0B32EF8F}"/>
              </a:ext>
            </a:extLst>
          </p:cNvPr>
          <p:cNvSpPr/>
          <p:nvPr/>
        </p:nvSpPr>
        <p:spPr>
          <a:xfrm>
            <a:off x="699317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80925FD8-CB66-437D-B503-0ECBAD2F0E07}"/>
              </a:ext>
            </a:extLst>
          </p:cNvPr>
          <p:cNvSpPr/>
          <p:nvPr/>
        </p:nvSpPr>
        <p:spPr>
          <a:xfrm>
            <a:off x="7052550" y="431534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5D7B2DA7-B85A-6BB5-92E6-029449CA90F4}"/>
              </a:ext>
            </a:extLst>
          </p:cNvPr>
          <p:cNvCxnSpPr/>
          <p:nvPr/>
        </p:nvCxnSpPr>
        <p:spPr>
          <a:xfrm>
            <a:off x="6993170" y="431327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E9EC190F-1BA2-147E-023A-30EDE05ECC60}"/>
              </a:ext>
            </a:extLst>
          </p:cNvPr>
          <p:cNvCxnSpPr/>
          <p:nvPr/>
        </p:nvCxnSpPr>
        <p:spPr>
          <a:xfrm>
            <a:off x="6968833" y="436273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E75F6DF2-DBB6-AFB0-729E-DEBBC5EFC550}"/>
              </a:ext>
            </a:extLst>
          </p:cNvPr>
          <p:cNvSpPr txBox="1"/>
          <p:nvPr/>
        </p:nvSpPr>
        <p:spPr>
          <a:xfrm>
            <a:off x="6826200" y="4354734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8DD26736-368D-1AA4-C8F7-8C83ACEF98AA}"/>
              </a:ext>
            </a:extLst>
          </p:cNvPr>
          <p:cNvSpPr/>
          <p:nvPr/>
        </p:nvSpPr>
        <p:spPr>
          <a:xfrm>
            <a:off x="7105107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031183-9177-183D-A73C-4B8BF6A9A374}"/>
              </a:ext>
            </a:extLst>
          </p:cNvPr>
          <p:cNvSpPr/>
          <p:nvPr/>
        </p:nvSpPr>
        <p:spPr>
          <a:xfrm>
            <a:off x="710510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872279AB-92FD-5D2B-EA78-7BCCC043B3C8}"/>
              </a:ext>
            </a:extLst>
          </p:cNvPr>
          <p:cNvSpPr/>
          <p:nvPr/>
        </p:nvSpPr>
        <p:spPr>
          <a:xfrm>
            <a:off x="7164487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95A8FE65-9401-D5E8-8B10-FDD0F4BAC485}"/>
              </a:ext>
            </a:extLst>
          </p:cNvPr>
          <p:cNvCxnSpPr/>
          <p:nvPr/>
        </p:nvCxnSpPr>
        <p:spPr>
          <a:xfrm>
            <a:off x="7105107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44" name="Rechteck 343">
            <a:extLst>
              <a:ext uri="{FF2B5EF4-FFF2-40B4-BE49-F238E27FC236}">
                <a16:creationId xmlns:a16="http://schemas.microsoft.com/office/drawing/2014/main" id="{83F14C59-AACE-19DE-FDF4-D400D2820BAA}"/>
              </a:ext>
            </a:extLst>
          </p:cNvPr>
          <p:cNvSpPr/>
          <p:nvPr/>
        </p:nvSpPr>
        <p:spPr>
          <a:xfrm>
            <a:off x="6983955" y="4596003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5F5C48B-0B56-FA90-C91C-32B1F0496CA8}"/>
              </a:ext>
            </a:extLst>
          </p:cNvPr>
          <p:cNvSpPr/>
          <p:nvPr/>
        </p:nvSpPr>
        <p:spPr>
          <a:xfrm>
            <a:off x="698395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2FFC0A94-A90F-3D9E-4CEF-DC8AEA4E5CF3}"/>
              </a:ext>
            </a:extLst>
          </p:cNvPr>
          <p:cNvSpPr/>
          <p:nvPr/>
        </p:nvSpPr>
        <p:spPr>
          <a:xfrm>
            <a:off x="7043335" y="468201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47" name="Gerader Verbinder 346">
            <a:extLst>
              <a:ext uri="{FF2B5EF4-FFF2-40B4-BE49-F238E27FC236}">
                <a16:creationId xmlns:a16="http://schemas.microsoft.com/office/drawing/2014/main" id="{564BC8A6-E381-4BFE-01DC-A60BE6447EA9}"/>
              </a:ext>
            </a:extLst>
          </p:cNvPr>
          <p:cNvCxnSpPr/>
          <p:nvPr/>
        </p:nvCxnSpPr>
        <p:spPr>
          <a:xfrm>
            <a:off x="6983955" y="467994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4C6EA753-48B1-D44A-10FD-0222D0F4B151}"/>
              </a:ext>
            </a:extLst>
          </p:cNvPr>
          <p:cNvCxnSpPr/>
          <p:nvPr/>
        </p:nvCxnSpPr>
        <p:spPr>
          <a:xfrm>
            <a:off x="6959618" y="472941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49" name="Textfeld 348">
            <a:extLst>
              <a:ext uri="{FF2B5EF4-FFF2-40B4-BE49-F238E27FC236}">
                <a16:creationId xmlns:a16="http://schemas.microsoft.com/office/drawing/2014/main" id="{0391FCBB-D18E-2D54-FC6A-84AAA5A72F2E}"/>
              </a:ext>
            </a:extLst>
          </p:cNvPr>
          <p:cNvSpPr txBox="1"/>
          <p:nvPr/>
        </p:nvSpPr>
        <p:spPr>
          <a:xfrm>
            <a:off x="6816985" y="4721407"/>
            <a:ext cx="12137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 &amp; 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D4F1C6B6-68F0-3B4B-5496-2B53715282BF}"/>
              </a:ext>
            </a:extLst>
          </p:cNvPr>
          <p:cNvSpPr/>
          <p:nvPr/>
        </p:nvSpPr>
        <p:spPr>
          <a:xfrm>
            <a:off x="7352989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1B37E076-3914-454B-8BA6-F26B6D212104}"/>
              </a:ext>
            </a:extLst>
          </p:cNvPr>
          <p:cNvSpPr/>
          <p:nvPr/>
        </p:nvSpPr>
        <p:spPr>
          <a:xfrm>
            <a:off x="735298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9705B48B-B500-9EF5-B07A-9D4BA84FD499}"/>
              </a:ext>
            </a:extLst>
          </p:cNvPr>
          <p:cNvSpPr/>
          <p:nvPr/>
        </p:nvSpPr>
        <p:spPr>
          <a:xfrm>
            <a:off x="7412369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3" name="Gerader Verbinder 352">
            <a:extLst>
              <a:ext uri="{FF2B5EF4-FFF2-40B4-BE49-F238E27FC236}">
                <a16:creationId xmlns:a16="http://schemas.microsoft.com/office/drawing/2014/main" id="{96FC468A-0D3B-BD1D-7530-0F83823D6A05}"/>
              </a:ext>
            </a:extLst>
          </p:cNvPr>
          <p:cNvCxnSpPr/>
          <p:nvPr/>
        </p:nvCxnSpPr>
        <p:spPr>
          <a:xfrm>
            <a:off x="7352989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4" name="Rechteck 353">
            <a:extLst>
              <a:ext uri="{FF2B5EF4-FFF2-40B4-BE49-F238E27FC236}">
                <a16:creationId xmlns:a16="http://schemas.microsoft.com/office/drawing/2014/main" id="{BF3CCDA6-6FEF-DEDE-F129-B745E8A153B8}"/>
              </a:ext>
            </a:extLst>
          </p:cNvPr>
          <p:cNvSpPr/>
          <p:nvPr/>
        </p:nvSpPr>
        <p:spPr>
          <a:xfrm>
            <a:off x="7471723" y="4607161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DEAD2C7F-EDB8-AAF1-2071-052A06D6EB3C}"/>
              </a:ext>
            </a:extLst>
          </p:cNvPr>
          <p:cNvSpPr/>
          <p:nvPr/>
        </p:nvSpPr>
        <p:spPr>
          <a:xfrm>
            <a:off x="747172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E4C7EBBC-8393-2451-EAFA-7454FF2DF405}"/>
              </a:ext>
            </a:extLst>
          </p:cNvPr>
          <p:cNvSpPr/>
          <p:nvPr/>
        </p:nvSpPr>
        <p:spPr>
          <a:xfrm>
            <a:off x="7531103" y="469317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57" name="Gerader Verbinder 356">
            <a:extLst>
              <a:ext uri="{FF2B5EF4-FFF2-40B4-BE49-F238E27FC236}">
                <a16:creationId xmlns:a16="http://schemas.microsoft.com/office/drawing/2014/main" id="{9C268318-7CA1-C28A-5B1C-74A2D1980FEC}"/>
              </a:ext>
            </a:extLst>
          </p:cNvPr>
          <p:cNvCxnSpPr/>
          <p:nvPr/>
        </p:nvCxnSpPr>
        <p:spPr>
          <a:xfrm>
            <a:off x="7471723" y="469110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58" name="Rechteck 357">
            <a:extLst>
              <a:ext uri="{FF2B5EF4-FFF2-40B4-BE49-F238E27FC236}">
                <a16:creationId xmlns:a16="http://schemas.microsoft.com/office/drawing/2014/main" id="{5D72AFEC-7E6B-9832-E13F-3B034631D542}"/>
              </a:ext>
            </a:extLst>
          </p:cNvPr>
          <p:cNvSpPr/>
          <p:nvPr/>
        </p:nvSpPr>
        <p:spPr>
          <a:xfrm>
            <a:off x="7231837" y="4604267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B0BF9E00-9535-DD4A-D802-32B8ACA23D67}"/>
              </a:ext>
            </a:extLst>
          </p:cNvPr>
          <p:cNvSpPr/>
          <p:nvPr/>
        </p:nvSpPr>
        <p:spPr>
          <a:xfrm>
            <a:off x="723183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0" name="Rechteck 359">
            <a:extLst>
              <a:ext uri="{FF2B5EF4-FFF2-40B4-BE49-F238E27FC236}">
                <a16:creationId xmlns:a16="http://schemas.microsoft.com/office/drawing/2014/main" id="{24B2FB00-189A-5A38-A713-688A59BA4702}"/>
              </a:ext>
            </a:extLst>
          </p:cNvPr>
          <p:cNvSpPr/>
          <p:nvPr/>
        </p:nvSpPr>
        <p:spPr>
          <a:xfrm>
            <a:off x="7291217" y="46902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1" name="Gerader Verbinder 360">
            <a:extLst>
              <a:ext uri="{FF2B5EF4-FFF2-40B4-BE49-F238E27FC236}">
                <a16:creationId xmlns:a16="http://schemas.microsoft.com/office/drawing/2014/main" id="{FFC5A19B-0D8B-4469-7BBD-1512FF5AEF56}"/>
              </a:ext>
            </a:extLst>
          </p:cNvPr>
          <p:cNvCxnSpPr/>
          <p:nvPr/>
        </p:nvCxnSpPr>
        <p:spPr>
          <a:xfrm>
            <a:off x="7231837" y="46882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DB7DB815-7FCE-E43D-1A13-CFB2961740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4149" y="4188128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4F34DAA4-3AAE-D9E4-B350-091B10631FF9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235857" y="4646388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4E41E485-B905-FCC4-533D-305CE4C4FD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53643" y="4559078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BDB5085D-8FEA-E8B5-C513-C4478DD83522}"/>
              </a:ext>
            </a:extLst>
          </p:cNvPr>
          <p:cNvCxnSpPr/>
          <p:nvPr/>
        </p:nvCxnSpPr>
        <p:spPr>
          <a:xfrm>
            <a:off x="3871460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CEE58DC8-C9F1-A492-25E5-D757F3B27C1A}"/>
              </a:ext>
            </a:extLst>
          </p:cNvPr>
          <p:cNvCxnSpPr/>
          <p:nvPr/>
        </p:nvCxnSpPr>
        <p:spPr>
          <a:xfrm>
            <a:off x="3871460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B541EEB-7C4E-7A82-9C75-DF0EDA2AA91A}"/>
              </a:ext>
            </a:extLst>
          </p:cNvPr>
          <p:cNvCxnSpPr/>
          <p:nvPr/>
        </p:nvCxnSpPr>
        <p:spPr>
          <a:xfrm>
            <a:off x="4521498" y="4366829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5E56B356-9AA9-4FF2-47C1-4A441ED6AB62}"/>
              </a:ext>
            </a:extLst>
          </p:cNvPr>
          <p:cNvCxnSpPr/>
          <p:nvPr/>
        </p:nvCxnSpPr>
        <p:spPr>
          <a:xfrm>
            <a:off x="452149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C4670D4-B518-5077-D365-E2EA7F3929A9}"/>
              </a:ext>
            </a:extLst>
          </p:cNvPr>
          <p:cNvCxnSpPr/>
          <p:nvPr/>
        </p:nvCxnSpPr>
        <p:spPr>
          <a:xfrm>
            <a:off x="6471878" y="474668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CA5F2FC1-D3E5-6C00-767F-3E8473731257}"/>
              </a:ext>
            </a:extLst>
          </p:cNvPr>
          <p:cNvCxnSpPr/>
          <p:nvPr/>
        </p:nvCxnSpPr>
        <p:spPr>
          <a:xfrm>
            <a:off x="6452828" y="4384732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B73044DA-83EE-0599-A6F7-D7F30AEC80BB}"/>
              </a:ext>
            </a:extLst>
          </p:cNvPr>
          <p:cNvCxnSpPr>
            <a:cxnSpLocks/>
          </p:cNvCxnSpPr>
          <p:nvPr/>
        </p:nvCxnSpPr>
        <p:spPr>
          <a:xfrm flipV="1">
            <a:off x="3852409" y="485669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852C2F6A-B2B5-0806-506E-BB81EEA7C6F8}"/>
              </a:ext>
            </a:extLst>
          </p:cNvPr>
          <p:cNvSpPr txBox="1"/>
          <p:nvPr/>
        </p:nvSpPr>
        <p:spPr>
          <a:xfrm>
            <a:off x="4251237" y="474695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2FA1D959-27D0-DA8D-1FE6-8F5BE6A57788}"/>
              </a:ext>
            </a:extLst>
          </p:cNvPr>
          <p:cNvSpPr txBox="1"/>
          <p:nvPr/>
        </p:nvSpPr>
        <p:spPr>
          <a:xfrm>
            <a:off x="7599224" y="4441423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E4D7629-76A0-17CC-750C-E3C09DF3D3B0}"/>
              </a:ext>
            </a:extLst>
          </p:cNvPr>
          <p:cNvSpPr txBox="1"/>
          <p:nvPr/>
        </p:nvSpPr>
        <p:spPr>
          <a:xfrm>
            <a:off x="7570133" y="1692321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194E7C5-2B57-5D07-4E01-CCAD715DEB21}"/>
              </a:ext>
            </a:extLst>
          </p:cNvPr>
          <p:cNvSpPr txBox="1"/>
          <p:nvPr/>
        </p:nvSpPr>
        <p:spPr>
          <a:xfrm>
            <a:off x="8880461" y="3885163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F76ABB-D12C-CC4C-8C4B-6A29874A74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4EF6FC12-D7FD-42DA-D7B0-130910F5CE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F6FC12-D7FD-42DA-D7B0-130910F5C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04313551-D399-A510-5071-C045EA753A97}"/>
              </a:ext>
            </a:extLst>
          </p:cNvPr>
          <p:cNvSpPr/>
          <p:nvPr/>
        </p:nvSpPr>
        <p:spPr>
          <a:xfrm>
            <a:off x="0" y="-1"/>
            <a:ext cx="12193200" cy="3605683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16091A9C-E7F5-2306-58D5-F6FAFC0D6AC1}"/>
              </a:ext>
            </a:extLst>
          </p:cNvPr>
          <p:cNvSpPr/>
          <p:nvPr/>
        </p:nvSpPr>
        <p:spPr>
          <a:xfrm>
            <a:off x="3598482" y="2417402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EDFC61B-EEED-43C3-B207-D285A4222066}"/>
              </a:ext>
            </a:extLst>
          </p:cNvPr>
          <p:cNvSpPr/>
          <p:nvPr/>
        </p:nvSpPr>
        <p:spPr>
          <a:xfrm>
            <a:off x="1574124" y="805126"/>
            <a:ext cx="9312734" cy="1620000"/>
          </a:xfrm>
          <a:prstGeom prst="rect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0EB51D0-4B91-A755-B087-69FDCDBD8CEA}"/>
              </a:ext>
            </a:extLst>
          </p:cNvPr>
          <p:cNvSpPr/>
          <p:nvPr/>
        </p:nvSpPr>
        <p:spPr>
          <a:xfrm>
            <a:off x="3598482" y="798279"/>
            <a:ext cx="7288376" cy="16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84" name="Grafik 83" descr="Roboterhand Silhouette">
            <a:extLst>
              <a:ext uri="{FF2B5EF4-FFF2-40B4-BE49-F238E27FC236}">
                <a16:creationId xmlns:a16="http://schemas.microsoft.com/office/drawing/2014/main" id="{2D7DFE6D-192E-DCC4-1139-EB31C2869D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03796" y="1106837"/>
            <a:ext cx="363133" cy="363133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C83CCE89-7D6C-02A4-8712-6B7FC715A4FC}"/>
              </a:ext>
            </a:extLst>
          </p:cNvPr>
          <p:cNvSpPr txBox="1"/>
          <p:nvPr/>
        </p:nvSpPr>
        <p:spPr>
          <a:xfrm>
            <a:off x="3788915" y="866339"/>
            <a:ext cx="1265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Planned Production</a:t>
            </a:r>
          </a:p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Output</a:t>
            </a:r>
          </a:p>
        </p:txBody>
      </p:sp>
      <p:pic>
        <p:nvPicPr>
          <p:cNvPr id="129" name="Grafik 128" descr="Datenbank Silhouette">
            <a:extLst>
              <a:ext uri="{FF2B5EF4-FFF2-40B4-BE49-F238E27FC236}">
                <a16:creationId xmlns:a16="http://schemas.microsoft.com/office/drawing/2014/main" id="{6073A5A0-5824-B1C4-3FD0-DEB9D05E46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54818" y="854411"/>
            <a:ext cx="433992" cy="433992"/>
          </a:xfrm>
          <a:prstGeom prst="rect">
            <a:avLst/>
          </a:prstGeom>
        </p:spPr>
      </p:pic>
      <p:pic>
        <p:nvPicPr>
          <p:cNvPr id="130" name="Grafik 129" descr="Computer Silhouette">
            <a:extLst>
              <a:ext uri="{FF2B5EF4-FFF2-40B4-BE49-F238E27FC236}">
                <a16:creationId xmlns:a16="http://schemas.microsoft.com/office/drawing/2014/main" id="{C5F76C97-5402-410B-94C7-893E1BFD5F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31238" y="823882"/>
            <a:ext cx="531660" cy="531660"/>
          </a:xfrm>
          <a:prstGeom prst="rect">
            <a:avLst/>
          </a:prstGeom>
        </p:spPr>
      </p:pic>
      <p:graphicFrame>
        <p:nvGraphicFramePr>
          <p:cNvPr id="131" name="Tabelle 130">
            <a:extLst>
              <a:ext uri="{FF2B5EF4-FFF2-40B4-BE49-F238E27FC236}">
                <a16:creationId xmlns:a16="http://schemas.microsoft.com/office/drawing/2014/main" id="{B214FDB8-9504-B120-FE3B-741D5B9789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5054159"/>
              </p:ext>
            </p:extLst>
          </p:nvPr>
        </p:nvGraphicFramePr>
        <p:xfrm>
          <a:off x="8016989" y="1261508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Custom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Planned Production Outpu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132" name="Textfeld 131">
            <a:extLst>
              <a:ext uri="{FF2B5EF4-FFF2-40B4-BE49-F238E27FC236}">
                <a16:creationId xmlns:a16="http://schemas.microsoft.com/office/drawing/2014/main" id="{0C560633-66CB-AF7A-110B-24F25803FA4F}"/>
              </a:ext>
            </a:extLst>
          </p:cNvPr>
          <p:cNvSpPr txBox="1"/>
          <p:nvPr/>
        </p:nvSpPr>
        <p:spPr>
          <a:xfrm>
            <a:off x="1534379" y="134706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1 (C1)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24DDCEA1-7CE7-29F8-FEEA-EB3D0AF1DFDD}"/>
              </a:ext>
            </a:extLst>
          </p:cNvPr>
          <p:cNvSpPr txBox="1"/>
          <p:nvPr/>
        </p:nvSpPr>
        <p:spPr>
          <a:xfrm>
            <a:off x="2991898" y="902701"/>
            <a:ext cx="6636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Demand</a:t>
            </a:r>
          </a:p>
        </p:txBody>
      </p:sp>
      <p:pic>
        <p:nvPicPr>
          <p:cNvPr id="136" name="Grafik 135" descr="Hammer Silhouette">
            <a:extLst>
              <a:ext uri="{FF2B5EF4-FFF2-40B4-BE49-F238E27FC236}">
                <a16:creationId xmlns:a16="http://schemas.microsoft.com/office/drawing/2014/main" id="{74C8123A-F07A-F3DE-F040-FEC981BF4DD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603731" y="1328714"/>
            <a:ext cx="230400" cy="230400"/>
          </a:xfrm>
          <a:prstGeom prst="rect">
            <a:avLst/>
          </a:prstGeom>
        </p:spPr>
      </p:pic>
      <p:pic>
        <p:nvPicPr>
          <p:cNvPr id="137" name="Grafik 136" descr="Schraubenschlüssel Silhouette">
            <a:extLst>
              <a:ext uri="{FF2B5EF4-FFF2-40B4-BE49-F238E27FC236}">
                <a16:creationId xmlns:a16="http://schemas.microsoft.com/office/drawing/2014/main" id="{4FC7E346-6355-62B1-691A-75ED2B0AB8A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03731" y="1716503"/>
            <a:ext cx="230400" cy="230400"/>
          </a:xfrm>
          <a:prstGeom prst="rect">
            <a:avLst/>
          </a:prstGeom>
        </p:spPr>
      </p:pic>
      <p:sp>
        <p:nvSpPr>
          <p:cNvPr id="139" name="Textfeld 138">
            <a:extLst>
              <a:ext uri="{FF2B5EF4-FFF2-40B4-BE49-F238E27FC236}">
                <a16:creationId xmlns:a16="http://schemas.microsoft.com/office/drawing/2014/main" id="{8D787EC7-7CB5-8BAE-7631-713FA440781A}"/>
              </a:ext>
            </a:extLst>
          </p:cNvPr>
          <p:cNvSpPr txBox="1"/>
          <p:nvPr/>
        </p:nvSpPr>
        <p:spPr>
          <a:xfrm>
            <a:off x="2528783" y="902701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8C00D29C-5874-5081-9CBB-D855A2C89AE6}"/>
              </a:ext>
            </a:extLst>
          </p:cNvPr>
          <p:cNvSpPr txBox="1"/>
          <p:nvPr/>
        </p:nvSpPr>
        <p:spPr>
          <a:xfrm>
            <a:off x="1534379" y="171822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2 (C2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AD0B99F6-79F5-8263-0E5B-E0C1FB2D2805}"/>
              </a:ext>
            </a:extLst>
          </p:cNvPr>
          <p:cNvSpPr txBox="1"/>
          <p:nvPr/>
        </p:nvSpPr>
        <p:spPr>
          <a:xfrm>
            <a:off x="1534379" y="210472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Customer 3 (C3)</a:t>
            </a:r>
          </a:p>
        </p:txBody>
      </p: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1285DAC3-3949-D4B1-8CA8-EB1F222F402F}"/>
              </a:ext>
            </a:extLst>
          </p:cNvPr>
          <p:cNvCxnSpPr>
            <a:cxnSpLocks/>
          </p:cNvCxnSpPr>
          <p:nvPr/>
        </p:nvCxnSpPr>
        <p:spPr>
          <a:xfrm>
            <a:off x="3272101" y="1478437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9" name="Gerade Verbindung mit Pfeil 148">
            <a:extLst>
              <a:ext uri="{FF2B5EF4-FFF2-40B4-BE49-F238E27FC236}">
                <a16:creationId xmlns:a16="http://schemas.microsoft.com/office/drawing/2014/main" id="{FE083FF4-B295-9FDB-0A0D-75463BACACC9}"/>
              </a:ext>
            </a:extLst>
          </p:cNvPr>
          <p:cNvCxnSpPr/>
          <p:nvPr/>
        </p:nvCxnSpPr>
        <p:spPr>
          <a:xfrm>
            <a:off x="3272101" y="185829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4768A8E0-7A79-8A89-46C5-0F84504EBA64}"/>
              </a:ext>
            </a:extLst>
          </p:cNvPr>
          <p:cNvCxnSpPr/>
          <p:nvPr/>
        </p:nvCxnSpPr>
        <p:spPr>
          <a:xfrm>
            <a:off x="3272101" y="2239735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8DDEA250-A86E-D802-B9CD-58C0EAA40FDA}"/>
              </a:ext>
            </a:extLst>
          </p:cNvPr>
          <p:cNvSpPr/>
          <p:nvPr/>
        </p:nvSpPr>
        <p:spPr>
          <a:xfrm>
            <a:off x="3632808" y="1106383"/>
            <a:ext cx="277649" cy="1257451"/>
          </a:xfrm>
          <a:prstGeom prst="rect">
            <a:avLst/>
          </a:prstGeom>
          <a:solidFill>
            <a:srgbClr val="156082">
              <a:lumMod val="75000"/>
              <a:alpha val="38000"/>
            </a:srgbClr>
          </a:solidFill>
          <a:ln w="6350" cap="flat" cmpd="sng" algn="ctr">
            <a:solidFill>
              <a:sysClr val="window" lastClr="FFFFFF">
                <a:lumMod val="95000"/>
              </a:sysClr>
            </a:solidFill>
            <a:prstDash val="dash"/>
            <a:miter lim="800000"/>
          </a:ln>
          <a:effectLst/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ing</a:t>
            </a:r>
            <a:endParaRPr kumimoji="0" lang="de-DE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2BD96AB-67A1-63A6-849B-6FA76C4279E7}"/>
              </a:ext>
            </a:extLst>
          </p:cNvPr>
          <p:cNvSpPr txBox="1"/>
          <p:nvPr/>
        </p:nvSpPr>
        <p:spPr>
          <a:xfrm>
            <a:off x="6733046" y="877577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72" name="Grafik 171" descr="Cmd (Terminal) Silhouette">
            <a:extLst>
              <a:ext uri="{FF2B5EF4-FFF2-40B4-BE49-F238E27FC236}">
                <a16:creationId xmlns:a16="http://schemas.microsoft.com/office/drawing/2014/main" id="{27B5CFBF-2660-5716-6076-12C6A943583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064320" y="1385947"/>
            <a:ext cx="193532" cy="193532"/>
          </a:xfrm>
          <a:prstGeom prst="rect">
            <a:avLst/>
          </a:prstGeom>
        </p:spPr>
      </p:pic>
      <p:pic>
        <p:nvPicPr>
          <p:cNvPr id="173" name="Grafik 172" descr="Cmd (Terminal) Silhouette">
            <a:extLst>
              <a:ext uri="{FF2B5EF4-FFF2-40B4-BE49-F238E27FC236}">
                <a16:creationId xmlns:a16="http://schemas.microsoft.com/office/drawing/2014/main" id="{19A87A75-C375-7A04-CAF1-68AF0E51FDF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064320" y="1768095"/>
            <a:ext cx="193532" cy="193532"/>
          </a:xfrm>
          <a:prstGeom prst="rect">
            <a:avLst/>
          </a:prstGeom>
        </p:spPr>
      </p:pic>
      <p:pic>
        <p:nvPicPr>
          <p:cNvPr id="174" name="Grafik 173" descr="Cmd (Terminal) Silhouette">
            <a:extLst>
              <a:ext uri="{FF2B5EF4-FFF2-40B4-BE49-F238E27FC236}">
                <a16:creationId xmlns:a16="http://schemas.microsoft.com/office/drawing/2014/main" id="{B284BFE8-B3B5-3C77-F0AC-8F3BDDFEB95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64320" y="2142684"/>
            <a:ext cx="193532" cy="193532"/>
          </a:xfrm>
          <a:prstGeom prst="rect">
            <a:avLst/>
          </a:prstGeom>
        </p:spPr>
      </p:pic>
      <p:sp>
        <p:nvSpPr>
          <p:cNvPr id="179" name="Textfeld 178">
            <a:extLst>
              <a:ext uri="{FF2B5EF4-FFF2-40B4-BE49-F238E27FC236}">
                <a16:creationId xmlns:a16="http://schemas.microsoft.com/office/drawing/2014/main" id="{D740F2ED-0072-D63A-2A16-A671F53E9F10}"/>
              </a:ext>
            </a:extLst>
          </p:cNvPr>
          <p:cNvSpPr txBox="1"/>
          <p:nvPr/>
        </p:nvSpPr>
        <p:spPr>
          <a:xfrm>
            <a:off x="4095611" y="2467084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roduction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76B3644C-FDC9-EBAC-642B-1C34D4FB93AE}"/>
              </a:ext>
            </a:extLst>
          </p:cNvPr>
          <p:cNvSpPr txBox="1"/>
          <p:nvPr/>
        </p:nvSpPr>
        <p:spPr>
          <a:xfrm>
            <a:off x="8577007" y="2442436"/>
            <a:ext cx="2195385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Planned Production Output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1" name="Textfeld 180">
            <a:extLst>
              <a:ext uri="{FF2B5EF4-FFF2-40B4-BE49-F238E27FC236}">
                <a16:creationId xmlns:a16="http://schemas.microsoft.com/office/drawing/2014/main" id="{26C272E7-8EFB-67D5-E956-626C1E3B960C}"/>
              </a:ext>
            </a:extLst>
          </p:cNvPr>
          <p:cNvSpPr txBox="1"/>
          <p:nvPr/>
        </p:nvSpPr>
        <p:spPr>
          <a:xfrm>
            <a:off x="6042064" y="2476091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Production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lanning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bg1"/>
                </a:solidFill>
                <a:latin typeface="Aptos" panose="02110004020202020204"/>
              </a:rPr>
              <a:t>Separated</a:t>
            </a: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 Production Orders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84" name="Ellipse 183">
            <a:extLst>
              <a:ext uri="{FF2B5EF4-FFF2-40B4-BE49-F238E27FC236}">
                <a16:creationId xmlns:a16="http://schemas.microsoft.com/office/drawing/2014/main" id="{13E347CD-E1C1-861B-F131-558ABE1199AA}"/>
              </a:ext>
            </a:extLst>
          </p:cNvPr>
          <p:cNvSpPr/>
          <p:nvPr/>
        </p:nvSpPr>
        <p:spPr>
          <a:xfrm>
            <a:off x="1376191" y="593703"/>
            <a:ext cx="409151" cy="409151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309" name="Grafik 308" descr="Schraubenschlüssel Silhouette">
            <a:extLst>
              <a:ext uri="{FF2B5EF4-FFF2-40B4-BE49-F238E27FC236}">
                <a16:creationId xmlns:a16="http://schemas.microsoft.com/office/drawing/2014/main" id="{F10B2231-0A92-EB1D-AAFC-3D51885DB3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580375" y="2076436"/>
            <a:ext cx="230400" cy="230400"/>
          </a:xfrm>
          <a:prstGeom prst="rect">
            <a:avLst/>
          </a:prstGeom>
        </p:spPr>
      </p:pic>
      <p:sp>
        <p:nvSpPr>
          <p:cNvPr id="310" name="Rechteck 309">
            <a:extLst>
              <a:ext uri="{FF2B5EF4-FFF2-40B4-BE49-F238E27FC236}">
                <a16:creationId xmlns:a16="http://schemas.microsoft.com/office/drawing/2014/main" id="{4D241A28-D0D2-4BFB-0384-C8F44FA1CA18}"/>
              </a:ext>
            </a:extLst>
          </p:cNvPr>
          <p:cNvSpPr/>
          <p:nvPr/>
        </p:nvSpPr>
        <p:spPr>
          <a:xfrm>
            <a:off x="2521177" y="1670830"/>
            <a:ext cx="395311" cy="699402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11" name="Textfeld 310">
            <a:extLst>
              <a:ext uri="{FF2B5EF4-FFF2-40B4-BE49-F238E27FC236}">
                <a16:creationId xmlns:a16="http://schemas.microsoft.com/office/drawing/2014/main" id="{7D13A2CA-C774-96D9-6708-5E73975CE9E2}"/>
              </a:ext>
            </a:extLst>
          </p:cNvPr>
          <p:cNvSpPr txBox="1"/>
          <p:nvPr/>
        </p:nvSpPr>
        <p:spPr>
          <a:xfrm>
            <a:off x="2711325" y="1977494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312" name="Textfeld 311">
            <a:extLst>
              <a:ext uri="{FF2B5EF4-FFF2-40B4-BE49-F238E27FC236}">
                <a16:creationId xmlns:a16="http://schemas.microsoft.com/office/drawing/2014/main" id="{90C054A5-8F41-86E0-0B23-908D261A22D0}"/>
              </a:ext>
            </a:extLst>
          </p:cNvPr>
          <p:cNvSpPr txBox="1"/>
          <p:nvPr/>
        </p:nvSpPr>
        <p:spPr>
          <a:xfrm>
            <a:off x="1581743" y="2439159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Customer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Production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li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&amp;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one</a:t>
            </a:r>
            <a:r>
              <a:rPr lang="de-DE" sz="1000" dirty="0">
                <a:solidFill>
                  <a:schemeClr val="accent1"/>
                </a:solidFill>
                <a:latin typeface="Aptos" panose="02110004020202020204"/>
              </a:rPr>
              <a:t>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storage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319" name="Pfeil: nach rechts 318">
            <a:extLst>
              <a:ext uri="{FF2B5EF4-FFF2-40B4-BE49-F238E27FC236}">
                <a16:creationId xmlns:a16="http://schemas.microsoft.com/office/drawing/2014/main" id="{B87D6FC6-8992-A73B-B67C-6BF7B1DA1D05}"/>
              </a:ext>
            </a:extLst>
          </p:cNvPr>
          <p:cNvSpPr/>
          <p:nvPr/>
        </p:nvSpPr>
        <p:spPr>
          <a:xfrm>
            <a:off x="4997411" y="1358183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1</a:t>
            </a:r>
          </a:p>
        </p:txBody>
      </p:sp>
      <p:pic>
        <p:nvPicPr>
          <p:cNvPr id="320" name="Grafik 319" descr="Cmd (Terminal) Silhouette">
            <a:extLst>
              <a:ext uri="{FF2B5EF4-FFF2-40B4-BE49-F238E27FC236}">
                <a16:creationId xmlns:a16="http://schemas.microsoft.com/office/drawing/2014/main" id="{6252488D-C282-F06B-C78C-A83DE7BEA19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311977" y="1397604"/>
            <a:ext cx="193532" cy="193532"/>
          </a:xfrm>
          <a:prstGeom prst="rect">
            <a:avLst/>
          </a:prstGeom>
        </p:spPr>
      </p:pic>
      <p:sp>
        <p:nvSpPr>
          <p:cNvPr id="321" name="Pfeil: nach rechts 320">
            <a:extLst>
              <a:ext uri="{FF2B5EF4-FFF2-40B4-BE49-F238E27FC236}">
                <a16:creationId xmlns:a16="http://schemas.microsoft.com/office/drawing/2014/main" id="{B592D24A-BCF8-DEA9-22CD-B0C6FF24FD4D}"/>
              </a:ext>
            </a:extLst>
          </p:cNvPr>
          <p:cNvSpPr/>
          <p:nvPr/>
        </p:nvSpPr>
        <p:spPr>
          <a:xfrm>
            <a:off x="4991734" y="1730990"/>
            <a:ext cx="1476638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#2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4B87198E-E06E-F609-5F4E-636D9F90ADFC}"/>
              </a:ext>
            </a:extLst>
          </p:cNvPr>
          <p:cNvSpPr/>
          <p:nvPr/>
        </p:nvSpPr>
        <p:spPr>
          <a:xfrm>
            <a:off x="7184172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28A46D78-0E72-894A-A5FA-971BB2890D7A}"/>
              </a:ext>
            </a:extLst>
          </p:cNvPr>
          <p:cNvSpPr/>
          <p:nvPr/>
        </p:nvSpPr>
        <p:spPr>
          <a:xfrm>
            <a:off x="718417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443C5C2F-31DB-2856-068C-18392CFCCDD2}"/>
              </a:ext>
            </a:extLst>
          </p:cNvPr>
          <p:cNvSpPr/>
          <p:nvPr/>
        </p:nvSpPr>
        <p:spPr>
          <a:xfrm>
            <a:off x="7243552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5" name="Gerader Verbinder 324">
            <a:extLst>
              <a:ext uri="{FF2B5EF4-FFF2-40B4-BE49-F238E27FC236}">
                <a16:creationId xmlns:a16="http://schemas.microsoft.com/office/drawing/2014/main" id="{C05BF703-7D30-4401-9D85-EE9D159FDBCE}"/>
              </a:ext>
            </a:extLst>
          </p:cNvPr>
          <p:cNvCxnSpPr/>
          <p:nvPr/>
        </p:nvCxnSpPr>
        <p:spPr>
          <a:xfrm>
            <a:off x="7184172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26" name="Rechteck 325">
            <a:extLst>
              <a:ext uri="{FF2B5EF4-FFF2-40B4-BE49-F238E27FC236}">
                <a16:creationId xmlns:a16="http://schemas.microsoft.com/office/drawing/2014/main" id="{EB1A950D-AB8A-FD96-F5F9-F67B8A6C4C0A}"/>
              </a:ext>
            </a:extLst>
          </p:cNvPr>
          <p:cNvSpPr/>
          <p:nvPr/>
        </p:nvSpPr>
        <p:spPr>
          <a:xfrm>
            <a:off x="7428305" y="134446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8197C794-BF01-DA24-97BB-8BC5DB863B93}"/>
              </a:ext>
            </a:extLst>
          </p:cNvPr>
          <p:cNvSpPr/>
          <p:nvPr/>
        </p:nvSpPr>
        <p:spPr>
          <a:xfrm>
            <a:off x="742830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314C4500-2CDF-D07D-97AE-0CF0B7A530CF}"/>
              </a:ext>
            </a:extLst>
          </p:cNvPr>
          <p:cNvSpPr/>
          <p:nvPr/>
        </p:nvSpPr>
        <p:spPr>
          <a:xfrm>
            <a:off x="7487685" y="143047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29" name="Gerader Verbinder 328">
            <a:extLst>
              <a:ext uri="{FF2B5EF4-FFF2-40B4-BE49-F238E27FC236}">
                <a16:creationId xmlns:a16="http://schemas.microsoft.com/office/drawing/2014/main" id="{484DEA89-24EC-5F9D-0722-D3C6DB648D57}"/>
              </a:ext>
            </a:extLst>
          </p:cNvPr>
          <p:cNvCxnSpPr/>
          <p:nvPr/>
        </p:nvCxnSpPr>
        <p:spPr>
          <a:xfrm>
            <a:off x="7428305" y="142841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0" name="Rechteck 329">
            <a:extLst>
              <a:ext uri="{FF2B5EF4-FFF2-40B4-BE49-F238E27FC236}">
                <a16:creationId xmlns:a16="http://schemas.microsoft.com/office/drawing/2014/main" id="{22EDC890-E39A-1579-4C1F-0353DAA6D9D3}"/>
              </a:ext>
            </a:extLst>
          </p:cNvPr>
          <p:cNvSpPr/>
          <p:nvPr/>
        </p:nvSpPr>
        <p:spPr>
          <a:xfrm>
            <a:off x="7302906" y="1349915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AE37839A-1A74-3FE1-03FE-DD9042D0140C}"/>
              </a:ext>
            </a:extLst>
          </p:cNvPr>
          <p:cNvSpPr/>
          <p:nvPr/>
        </p:nvSpPr>
        <p:spPr>
          <a:xfrm>
            <a:off x="730290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884BD47-C503-3871-BC3F-CD237493B2E0}"/>
              </a:ext>
            </a:extLst>
          </p:cNvPr>
          <p:cNvSpPr/>
          <p:nvPr/>
        </p:nvSpPr>
        <p:spPr>
          <a:xfrm>
            <a:off x="7362286" y="143592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3" name="Gerader Verbinder 332">
            <a:extLst>
              <a:ext uri="{FF2B5EF4-FFF2-40B4-BE49-F238E27FC236}">
                <a16:creationId xmlns:a16="http://schemas.microsoft.com/office/drawing/2014/main" id="{BBAB6BD2-1AB6-0E5D-E62F-213212E8F001}"/>
              </a:ext>
            </a:extLst>
          </p:cNvPr>
          <p:cNvCxnSpPr/>
          <p:nvPr/>
        </p:nvCxnSpPr>
        <p:spPr>
          <a:xfrm>
            <a:off x="7302906" y="143385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34" name="Rechteck 333">
            <a:extLst>
              <a:ext uri="{FF2B5EF4-FFF2-40B4-BE49-F238E27FC236}">
                <a16:creationId xmlns:a16="http://schemas.microsoft.com/office/drawing/2014/main" id="{3BC9B5D1-36B9-756D-291B-2BF1FA77CCA4}"/>
              </a:ext>
            </a:extLst>
          </p:cNvPr>
          <p:cNvSpPr/>
          <p:nvPr/>
        </p:nvSpPr>
        <p:spPr>
          <a:xfrm>
            <a:off x="7063020" y="134702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C1D0C72B-E31D-66A5-8275-AA648813CF37}"/>
              </a:ext>
            </a:extLst>
          </p:cNvPr>
          <p:cNvSpPr/>
          <p:nvPr/>
        </p:nvSpPr>
        <p:spPr>
          <a:xfrm>
            <a:off x="706302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5A912F92-8824-C99F-1317-E592CA20B9BC}"/>
              </a:ext>
            </a:extLst>
          </p:cNvPr>
          <p:cNvSpPr/>
          <p:nvPr/>
        </p:nvSpPr>
        <p:spPr>
          <a:xfrm>
            <a:off x="7122400" y="143303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37" name="Gerader Verbinder 336">
            <a:extLst>
              <a:ext uri="{FF2B5EF4-FFF2-40B4-BE49-F238E27FC236}">
                <a16:creationId xmlns:a16="http://schemas.microsoft.com/office/drawing/2014/main" id="{69C7095C-3DAE-E662-A86A-F0A4C9928FC9}"/>
              </a:ext>
            </a:extLst>
          </p:cNvPr>
          <p:cNvCxnSpPr/>
          <p:nvPr/>
        </p:nvCxnSpPr>
        <p:spPr>
          <a:xfrm>
            <a:off x="7063020" y="143096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89C3F628-440C-F8B0-D05B-9DA08647841A}"/>
              </a:ext>
            </a:extLst>
          </p:cNvPr>
          <p:cNvCxnSpPr/>
          <p:nvPr/>
        </p:nvCxnSpPr>
        <p:spPr>
          <a:xfrm>
            <a:off x="7038683" y="1480428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39" name="Textfeld 338">
            <a:extLst>
              <a:ext uri="{FF2B5EF4-FFF2-40B4-BE49-F238E27FC236}">
                <a16:creationId xmlns:a16="http://schemas.microsoft.com/office/drawing/2014/main" id="{CA54F442-B2C0-511C-2068-D5D2CDD0D65A}"/>
              </a:ext>
            </a:extLst>
          </p:cNvPr>
          <p:cNvSpPr txBox="1"/>
          <p:nvPr/>
        </p:nvSpPr>
        <p:spPr>
          <a:xfrm>
            <a:off x="6896050" y="1472425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49" name="Textfeld 348">
            <a:extLst>
              <a:ext uri="{FF2B5EF4-FFF2-40B4-BE49-F238E27FC236}">
                <a16:creationId xmlns:a16="http://schemas.microsoft.com/office/drawing/2014/main" id="{EED5E390-1555-6A63-BCB1-07FE719CBBE1}"/>
              </a:ext>
            </a:extLst>
          </p:cNvPr>
          <p:cNvSpPr txBox="1"/>
          <p:nvPr/>
        </p:nvSpPr>
        <p:spPr>
          <a:xfrm>
            <a:off x="6886835" y="1839098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362" name="Grafik 361" descr="Roboterhand Silhouette">
            <a:extLst>
              <a:ext uri="{FF2B5EF4-FFF2-40B4-BE49-F238E27FC236}">
                <a16:creationId xmlns:a16="http://schemas.microsoft.com/office/drawing/2014/main" id="{8D0623AE-E3AF-F775-6DFB-2C96AE5985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999" y="1305819"/>
            <a:ext cx="140737" cy="140737"/>
          </a:xfrm>
          <a:prstGeom prst="rect">
            <a:avLst/>
          </a:prstGeom>
        </p:spPr>
      </p:pic>
      <p:pic>
        <p:nvPicPr>
          <p:cNvPr id="363" name="Grafik 362" descr="Cmd (Terminal) Silhouette">
            <a:extLst>
              <a:ext uri="{FF2B5EF4-FFF2-40B4-BE49-F238E27FC236}">
                <a16:creationId xmlns:a16="http://schemas.microsoft.com/office/drawing/2014/main" id="{C01C7C28-D23F-4C06-6FDC-C3826B895B3C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305707" y="1764079"/>
            <a:ext cx="193532" cy="193532"/>
          </a:xfrm>
          <a:prstGeom prst="rect">
            <a:avLst/>
          </a:prstGeom>
        </p:spPr>
      </p:pic>
      <p:pic>
        <p:nvPicPr>
          <p:cNvPr id="364" name="Grafik 363" descr="Roboterhand Silhouette">
            <a:extLst>
              <a:ext uri="{FF2B5EF4-FFF2-40B4-BE49-F238E27FC236}">
                <a16:creationId xmlns:a16="http://schemas.microsoft.com/office/drawing/2014/main" id="{032B78A2-2D12-2CC5-9327-8047F9C2FF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3493" y="1676769"/>
            <a:ext cx="140737" cy="140737"/>
          </a:xfrm>
          <a:prstGeom prst="rect">
            <a:avLst/>
          </a:prstGeom>
        </p:spPr>
      </p:pic>
      <p:cxnSp>
        <p:nvCxnSpPr>
          <p:cNvPr id="365" name="Gerade Verbindung mit Pfeil 364">
            <a:extLst>
              <a:ext uri="{FF2B5EF4-FFF2-40B4-BE49-F238E27FC236}">
                <a16:creationId xmlns:a16="http://schemas.microsoft.com/office/drawing/2014/main" id="{5C76D122-E793-5E06-10EB-C47F85D35B5B}"/>
              </a:ext>
            </a:extLst>
          </p:cNvPr>
          <p:cNvCxnSpPr/>
          <p:nvPr/>
        </p:nvCxnSpPr>
        <p:spPr>
          <a:xfrm>
            <a:off x="3941310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6" name="Gerade Verbindung mit Pfeil 365">
            <a:extLst>
              <a:ext uri="{FF2B5EF4-FFF2-40B4-BE49-F238E27FC236}">
                <a16:creationId xmlns:a16="http://schemas.microsoft.com/office/drawing/2014/main" id="{A73964B0-61DF-1828-EF2C-4B1B8A0476AE}"/>
              </a:ext>
            </a:extLst>
          </p:cNvPr>
          <p:cNvCxnSpPr/>
          <p:nvPr/>
        </p:nvCxnSpPr>
        <p:spPr>
          <a:xfrm>
            <a:off x="3941310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7" name="Gerade Verbindung mit Pfeil 366">
            <a:extLst>
              <a:ext uri="{FF2B5EF4-FFF2-40B4-BE49-F238E27FC236}">
                <a16:creationId xmlns:a16="http://schemas.microsoft.com/office/drawing/2014/main" id="{6A2715C7-ED41-7737-F0DB-09C9CB62395A}"/>
              </a:ext>
            </a:extLst>
          </p:cNvPr>
          <p:cNvCxnSpPr/>
          <p:nvPr/>
        </p:nvCxnSpPr>
        <p:spPr>
          <a:xfrm>
            <a:off x="4591348" y="1484520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8" name="Gerade Verbindung mit Pfeil 367">
            <a:extLst>
              <a:ext uri="{FF2B5EF4-FFF2-40B4-BE49-F238E27FC236}">
                <a16:creationId xmlns:a16="http://schemas.microsoft.com/office/drawing/2014/main" id="{3E17499D-6B02-15A5-0B39-A7641CECDE75}"/>
              </a:ext>
            </a:extLst>
          </p:cNvPr>
          <p:cNvCxnSpPr/>
          <p:nvPr/>
        </p:nvCxnSpPr>
        <p:spPr>
          <a:xfrm>
            <a:off x="459134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7C959164-8F68-A713-2C0F-4A8147337B05}"/>
              </a:ext>
            </a:extLst>
          </p:cNvPr>
          <p:cNvCxnSpPr/>
          <p:nvPr/>
        </p:nvCxnSpPr>
        <p:spPr>
          <a:xfrm>
            <a:off x="6541728" y="186437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0" name="Gerade Verbindung mit Pfeil 369">
            <a:extLst>
              <a:ext uri="{FF2B5EF4-FFF2-40B4-BE49-F238E27FC236}">
                <a16:creationId xmlns:a16="http://schemas.microsoft.com/office/drawing/2014/main" id="{E623C352-EBEC-AB01-6032-2DA5B15A2A36}"/>
              </a:ext>
            </a:extLst>
          </p:cNvPr>
          <p:cNvCxnSpPr/>
          <p:nvPr/>
        </p:nvCxnSpPr>
        <p:spPr>
          <a:xfrm>
            <a:off x="6522678" y="1502423"/>
            <a:ext cx="333987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1" name="Verbinder: gewinkelt 370">
            <a:extLst>
              <a:ext uri="{FF2B5EF4-FFF2-40B4-BE49-F238E27FC236}">
                <a16:creationId xmlns:a16="http://schemas.microsoft.com/office/drawing/2014/main" id="{AC62D4A6-9C86-7664-038B-4E460A6F710D}"/>
              </a:ext>
            </a:extLst>
          </p:cNvPr>
          <p:cNvCxnSpPr>
            <a:cxnSpLocks/>
          </p:cNvCxnSpPr>
          <p:nvPr/>
        </p:nvCxnSpPr>
        <p:spPr>
          <a:xfrm flipV="1">
            <a:off x="3922259" y="1974385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Textfeld 371">
            <a:extLst>
              <a:ext uri="{FF2B5EF4-FFF2-40B4-BE49-F238E27FC236}">
                <a16:creationId xmlns:a16="http://schemas.microsoft.com/office/drawing/2014/main" id="{ED12B146-AB71-6BA0-926D-33EC1BF39692}"/>
              </a:ext>
            </a:extLst>
          </p:cNvPr>
          <p:cNvSpPr txBox="1"/>
          <p:nvPr/>
        </p:nvSpPr>
        <p:spPr>
          <a:xfrm>
            <a:off x="4321087" y="1864647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  <a:latin typeface="Aptos" panose="02110004020202020204"/>
              </a:rPr>
              <a:t>!</a:t>
            </a:r>
            <a:endParaRPr lang="de-DE" b="1" dirty="0">
              <a:solidFill>
                <a:srgbClr val="FFC000"/>
              </a:solidFill>
              <a:latin typeface="Aptos" panose="02110004020202020204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1205EF-D9A2-F34A-3318-759869E360E4}"/>
              </a:ext>
            </a:extLst>
          </p:cNvPr>
          <p:cNvSpPr txBox="1"/>
          <p:nvPr/>
        </p:nvSpPr>
        <p:spPr>
          <a:xfrm>
            <a:off x="8950311" y="1002854"/>
            <a:ext cx="2157713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latin typeface="Manrope Light" pitchFamily="2" charset="0"/>
                <a:cs typeface="Arial" panose="020B0604020202020204" pitchFamily="34" charset="0"/>
              </a:rPr>
              <a:t>Data Storage &amp; </a:t>
            </a:r>
            <a:r>
              <a:rPr lang="de-DE" sz="1400" dirty="0" err="1">
                <a:latin typeface="Manrope Light" pitchFamily="2" charset="0"/>
                <a:cs typeface="Arial" panose="020B0604020202020204" pitchFamily="34" charset="0"/>
              </a:rPr>
              <a:t>provison</a:t>
            </a:r>
            <a:endParaRPr lang="de-DE" sz="1400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392959B-5C18-2B5B-CC85-4EA2EF307777}"/>
              </a:ext>
            </a:extLst>
          </p:cNvPr>
          <p:cNvSpPr/>
          <p:nvPr/>
        </p:nvSpPr>
        <p:spPr>
          <a:xfrm>
            <a:off x="7181559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6A6EEF3-33EF-E0D0-52AA-F453079F52F0}"/>
              </a:ext>
            </a:extLst>
          </p:cNvPr>
          <p:cNvSpPr/>
          <p:nvPr/>
        </p:nvSpPr>
        <p:spPr>
          <a:xfrm>
            <a:off x="718155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A507BF96-12A6-F8CA-ACE1-9F9C3F8EEEA1}"/>
              </a:ext>
            </a:extLst>
          </p:cNvPr>
          <p:cNvSpPr/>
          <p:nvPr/>
        </p:nvSpPr>
        <p:spPr>
          <a:xfrm>
            <a:off x="7240939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6895B745-A5FA-E3C4-14B7-8645646A66B6}"/>
              </a:ext>
            </a:extLst>
          </p:cNvPr>
          <p:cNvCxnSpPr/>
          <p:nvPr/>
        </p:nvCxnSpPr>
        <p:spPr>
          <a:xfrm>
            <a:off x="7181559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A433E63E-DC19-D2AE-470F-C5833EA7FF98}"/>
              </a:ext>
            </a:extLst>
          </p:cNvPr>
          <p:cNvSpPr/>
          <p:nvPr/>
        </p:nvSpPr>
        <p:spPr>
          <a:xfrm>
            <a:off x="7060407" y="173951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F79AE757-6240-774E-303E-B269FF3943F2}"/>
              </a:ext>
            </a:extLst>
          </p:cNvPr>
          <p:cNvSpPr/>
          <p:nvPr/>
        </p:nvSpPr>
        <p:spPr>
          <a:xfrm>
            <a:off x="706040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EBE859DD-BF9F-6935-8C09-9098A6E966D8}"/>
              </a:ext>
            </a:extLst>
          </p:cNvPr>
          <p:cNvSpPr/>
          <p:nvPr/>
        </p:nvSpPr>
        <p:spPr>
          <a:xfrm>
            <a:off x="7119787" y="182552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FFA5A47-C8C7-5424-DDB3-5053543E662B}"/>
              </a:ext>
            </a:extLst>
          </p:cNvPr>
          <p:cNvCxnSpPr/>
          <p:nvPr/>
        </p:nvCxnSpPr>
        <p:spPr>
          <a:xfrm>
            <a:off x="7060407" y="182345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76B4B23-6831-5F9D-7401-ED3CB85A6E5C}"/>
              </a:ext>
            </a:extLst>
          </p:cNvPr>
          <p:cNvCxnSpPr/>
          <p:nvPr/>
        </p:nvCxnSpPr>
        <p:spPr>
          <a:xfrm>
            <a:off x="7036070" y="187292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457FD5C6-1B81-7EDC-B5FC-1D21FF046795}"/>
              </a:ext>
            </a:extLst>
          </p:cNvPr>
          <p:cNvSpPr/>
          <p:nvPr/>
        </p:nvSpPr>
        <p:spPr>
          <a:xfrm>
            <a:off x="7175148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9CEAE37F-16EA-FAFC-8409-67480E784DF7}"/>
              </a:ext>
            </a:extLst>
          </p:cNvPr>
          <p:cNvSpPr/>
          <p:nvPr/>
        </p:nvSpPr>
        <p:spPr>
          <a:xfrm>
            <a:off x="717514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6858561-6652-C33B-2A9D-89D6697B0FE5}"/>
              </a:ext>
            </a:extLst>
          </p:cNvPr>
          <p:cNvSpPr/>
          <p:nvPr/>
        </p:nvSpPr>
        <p:spPr>
          <a:xfrm>
            <a:off x="7234528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36574F29-9FB5-08A9-1981-099B3C65EC4B}"/>
              </a:ext>
            </a:extLst>
          </p:cNvPr>
          <p:cNvCxnSpPr/>
          <p:nvPr/>
        </p:nvCxnSpPr>
        <p:spPr>
          <a:xfrm>
            <a:off x="7175148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8" name="Rechteck 47">
            <a:extLst>
              <a:ext uri="{FF2B5EF4-FFF2-40B4-BE49-F238E27FC236}">
                <a16:creationId xmlns:a16="http://schemas.microsoft.com/office/drawing/2014/main" id="{F4B3CF6F-DFC9-1ED9-913F-CBFFD199AB86}"/>
              </a:ext>
            </a:extLst>
          </p:cNvPr>
          <p:cNvSpPr/>
          <p:nvPr/>
        </p:nvSpPr>
        <p:spPr>
          <a:xfrm>
            <a:off x="7293882" y="211699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79E220AE-4543-E33B-E011-70B7CE510FE0}"/>
              </a:ext>
            </a:extLst>
          </p:cNvPr>
          <p:cNvSpPr/>
          <p:nvPr/>
        </p:nvSpPr>
        <p:spPr>
          <a:xfrm>
            <a:off x="729388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1F5E65F-C480-9315-F839-D02D898CCAE9}"/>
              </a:ext>
            </a:extLst>
          </p:cNvPr>
          <p:cNvSpPr/>
          <p:nvPr/>
        </p:nvSpPr>
        <p:spPr>
          <a:xfrm>
            <a:off x="7353262" y="220300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9402878-F6B5-FB29-1E79-A59885AF9D02}"/>
              </a:ext>
            </a:extLst>
          </p:cNvPr>
          <p:cNvCxnSpPr/>
          <p:nvPr/>
        </p:nvCxnSpPr>
        <p:spPr>
          <a:xfrm>
            <a:off x="7293882" y="220094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9539E660-7C51-5CB9-5CDA-B5AF2276BD15}"/>
              </a:ext>
            </a:extLst>
          </p:cNvPr>
          <p:cNvSpPr/>
          <p:nvPr/>
        </p:nvSpPr>
        <p:spPr>
          <a:xfrm>
            <a:off x="7053996" y="211410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B785946C-6D24-551F-6575-4D45A949BBEF}"/>
              </a:ext>
            </a:extLst>
          </p:cNvPr>
          <p:cNvSpPr/>
          <p:nvPr/>
        </p:nvSpPr>
        <p:spPr>
          <a:xfrm>
            <a:off x="705399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753DC55-A7F5-A1AA-3BDE-CD5B66D9007D}"/>
              </a:ext>
            </a:extLst>
          </p:cNvPr>
          <p:cNvSpPr/>
          <p:nvPr/>
        </p:nvSpPr>
        <p:spPr>
          <a:xfrm>
            <a:off x="7113376" y="220011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DF22243-84E4-A963-DAA5-EE1DC178F4E3}"/>
              </a:ext>
            </a:extLst>
          </p:cNvPr>
          <p:cNvCxnSpPr/>
          <p:nvPr/>
        </p:nvCxnSpPr>
        <p:spPr>
          <a:xfrm>
            <a:off x="7053996" y="219804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6F689AC4-C4A6-2C5A-7218-DB31D76301F4}"/>
              </a:ext>
            </a:extLst>
          </p:cNvPr>
          <p:cNvCxnSpPr/>
          <p:nvPr/>
        </p:nvCxnSpPr>
        <p:spPr>
          <a:xfrm>
            <a:off x="7029659" y="224751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62" name="Textfeld 61">
            <a:extLst>
              <a:ext uri="{FF2B5EF4-FFF2-40B4-BE49-F238E27FC236}">
                <a16:creationId xmlns:a16="http://schemas.microsoft.com/office/drawing/2014/main" id="{DA612E8C-7453-06D3-653F-B92B177F1263}"/>
              </a:ext>
            </a:extLst>
          </p:cNvPr>
          <p:cNvSpPr txBox="1"/>
          <p:nvPr/>
        </p:nvSpPr>
        <p:spPr>
          <a:xfrm>
            <a:off x="6886835" y="2202032"/>
            <a:ext cx="9509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C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A0D9103F-0DE9-F97C-F5D3-DA7CFE14FFA0}"/>
              </a:ext>
            </a:extLst>
          </p:cNvPr>
          <p:cNvCxnSpPr>
            <a:cxnSpLocks/>
          </p:cNvCxnSpPr>
          <p:nvPr/>
        </p:nvCxnSpPr>
        <p:spPr>
          <a:xfrm>
            <a:off x="6541728" y="1864647"/>
            <a:ext cx="406487" cy="309047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183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711844-8718-DCF3-83E9-A0926743E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62">
            <a:extLst>
              <a:ext uri="{FF2B5EF4-FFF2-40B4-BE49-F238E27FC236}">
                <a16:creationId xmlns:a16="http://schemas.microsoft.com/office/drawing/2014/main" id="{3F71D502-76A5-3483-0B27-193D3A06BF7C}"/>
              </a:ext>
            </a:extLst>
          </p:cNvPr>
          <p:cNvSpPr>
            <a:spLocks/>
          </p:cNvSpPr>
          <p:nvPr/>
        </p:nvSpPr>
        <p:spPr>
          <a:xfrm>
            <a:off x="0" y="0"/>
            <a:ext cx="12193200" cy="4284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BC68E84-98B7-C3C8-898E-A2962BA81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604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C68E84-98B7-C3C8-898E-A2962BA81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D290C0D5-220E-D05F-640A-079C53C4AFD1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7E284C2D-4BD6-34B4-5270-0D0D05D5D256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2FFD2C63-FF17-06DE-BD91-01DE29B1D7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B34B16C1-69E9-476E-0B43-5D9893CEB701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4A4B77D-5FB9-8626-8076-91B44A6431DA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AC3F186-6E8F-ACFF-56CD-FA13F1DDC68B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855FDC0-858D-6E97-1401-24C61F0015AB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9F596DF-6C08-BE45-427C-2D0CD21EDBF7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D47661B-5437-AE30-754F-C5AE65215346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ED78E80F-FD1C-6923-4259-D7F2D39BC934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4521145-686B-A328-D5EC-4F67A079D65D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E9C1860-B4E9-0A40-191F-FD5DB2096203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22D5709F-5218-F9E6-AE49-51C01EAEB37F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CC807F2E-F596-834D-6C17-2499017DD7CC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ADADCA3-BEB0-A897-3B79-35FDCFA62F31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BAC2611-719A-320D-57DA-45C30CC8EC07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6972DBBC-4052-E072-F798-83D55C1C41F2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0CBC0B10-961A-507A-2A51-8D499683C76F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6CD790-B264-53C2-8CBD-5E4076B562F8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010C1EE7-32BE-2E52-A041-0DB9B887D2E2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BF2CD50-B15A-087F-D1B9-563AEEF3CE3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00FA1486-B267-A717-62B9-D9D0E7C89B54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AED8A537-E9A4-2C76-543A-ABE47F406AB0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4609CBD-00AA-81A9-D6D5-BF738E0F921A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C004CBA-3299-DFBF-080F-5CB3056E7D09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B7FB582-C564-D915-0DC6-234FEC32AEDF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C38B3DB-6B43-3C14-4B7E-B32A76560804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921D275-2F83-A969-F04E-B0F37881E7D0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F06AA23C-29F0-42B2-C4C2-994982DBD04C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9013BEA-8786-331A-3F49-F125A0B2CF61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852170D-773B-361B-673A-99676BC4CB9E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551544B-A3AE-A522-7AC2-8788A7C3B1AF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26A2C97-67EB-DB8D-23B3-785CCB5221C4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065D8E62-8DE1-4DF3-A4FA-DEE07787F9C7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A63E4A73-4904-02A3-CC13-82FB35D4CE7A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24E42BE-2544-387C-EF16-E6440AE2EF7A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A6852CDD-41A6-3F5B-FA6C-12DEDFF17BCA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10B1A391-C84A-9C13-31BE-D867CFCE430F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C9640AF-A062-8BBE-A0AB-231CF145B768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944ECF5-4C66-4A4D-68CA-C63FE6F1E7EB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5A3DD-2404-06DB-4D04-060658B21CC5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6C67B1B3-B4EE-C9F2-152A-D10EB6286F30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AB12F89-F0CA-731E-F521-849F603143AD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B2077C7-E926-4D2B-E422-E30A10B4B03C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CC96CC25-3AE4-11E3-3D49-0885671867A1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0FFB8510-257F-D95B-AEF0-F113FF42527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F5758A39-15BE-AE02-3E20-2B211F6F9990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EB81C3B-8D54-A0B6-13CC-22A3A697EF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00968" y="1205509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44D7091B-2941-5D40-A7E0-3B315FF63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77388" y="1174980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109D3D57-E0FF-758F-7578-5C88CCC315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0697794"/>
              </p:ext>
            </p:extLst>
          </p:nvPr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87D62B98-11E8-4F8C-89C6-B10155A0AB3B}"/>
              </a:ext>
            </a:extLst>
          </p:cNvPr>
          <p:cNvSpPr txBox="1"/>
          <p:nvPr/>
        </p:nvSpPr>
        <p:spPr>
          <a:xfrm>
            <a:off x="4299179" y="653779"/>
            <a:ext cx="3933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Single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60D1279-6AD1-31F3-8863-CFECF0AFFAD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4" name="Grafik 63" descr="Hammer Silhouette">
            <a:extLst>
              <a:ext uri="{FF2B5EF4-FFF2-40B4-BE49-F238E27FC236}">
                <a16:creationId xmlns:a16="http://schemas.microsoft.com/office/drawing/2014/main" id="{975F0AB1-D8D2-BA3A-1E87-C947312209A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703565"/>
            <a:ext cx="230400" cy="230400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F78BC15C-B2E4-A193-CFF5-43135916605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FBD0CE2F-D9ED-BCC4-6DF7-3A42980A5E3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4D67DB57-537B-5EE0-ABE5-990899248C28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2DDDA881-03DC-2E10-DD79-436966EA84D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1AFE5183-CA10-F82B-90D1-66568814EB4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76B5C223-F701-6C8A-7016-3B39FEC5CC17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8C0DB0E-2BEF-1299-AC1C-1DC77260BB0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44D7C18-7539-53AA-D9F3-D4D39B7E0FE8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DDBC88FB-4277-7BE7-28FF-19EFC2BE2732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2894EF25-E1EA-7097-7978-D1E9AC2E648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20051BEB-012D-2485-14D8-7BFD3E74B227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779A4BE2-E9C8-AE69-AEB7-CC25B34630B5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A838FB0B-48D4-74F7-0794-DD4FE4A37E71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E3E44812-2C02-E1B6-A855-21AD4CF7EEC3}"/>
              </a:ext>
            </a:extLst>
          </p:cNvPr>
          <p:cNvSpPr txBox="1"/>
          <p:nvPr/>
        </p:nvSpPr>
        <p:spPr>
          <a:xfrm>
            <a:off x="9793229" y="1348258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E471E708-B4B0-C6AC-80B1-AE45D28C935A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C9A0259D-4D12-366F-73B3-0BC324CBB4B9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72AAA8D-E6FE-3C38-C97E-D2DDEFC2BE0C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779CCD39-BC76-8B63-C2C9-02D3F3093FD2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3A01A8F5-87F6-7B3F-96B2-34695F4C52FF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1F95F6BA-58E1-123B-1210-C796549B598E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AAB3EB5C-7B53-45AB-BAF6-DFCBCFE987C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EB04FAE0-9B4D-33F5-9AC6-30FDFD8CA11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58654508-C3A3-B57B-A81C-5A7018963B8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2FF7F041-C4FC-3828-2FE2-C36637C387B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F7F1665-1943-FFC5-2249-78B8CC9B0FAC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0080758E-C053-4BCC-C01A-386CF82D4DA3}"/>
              </a:ext>
            </a:extLst>
          </p:cNvPr>
          <p:cNvCxnSpPr>
            <a:cxnSpLocks/>
            <a:stCxn id="212" idx="1"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BB1AC406-8502-0576-F7CC-0E2D575EC027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D657DF3D-F6A1-CF22-020A-332FB17EC4DE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EA9E32F3-EBD5-4EEE-340F-33CCCD21E11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A764C5A0-3D7E-5400-AFEC-D63BDA11196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pic>
        <p:nvPicPr>
          <p:cNvPr id="212" name="Grafik 211" descr="Hammer Silhouette">
            <a:extLst>
              <a:ext uri="{FF2B5EF4-FFF2-40B4-BE49-F238E27FC236}">
                <a16:creationId xmlns:a16="http://schemas.microsoft.com/office/drawing/2014/main" id="{7C3193D0-287D-9263-6BB2-9F1F3FA76C6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932680" y="1342876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BE62BA9A-123D-381D-1BEB-6CDC6CD4938E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66C259A0-0B6E-FD09-E302-D3F1350CA718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5CFA3115-AE73-9125-2AB6-FB8D4714C1FE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C9465705-A3EB-BF27-5B35-5CE8583C7BF7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31" name="Textfeld 230">
            <a:extLst>
              <a:ext uri="{FF2B5EF4-FFF2-40B4-BE49-F238E27FC236}">
                <a16:creationId xmlns:a16="http://schemas.microsoft.com/office/drawing/2014/main" id="{3A9454C4-D374-CB77-8985-9581E6266A3F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232" name="Gerade Verbindung mit Pfeil 231">
            <a:extLst>
              <a:ext uri="{FF2B5EF4-FFF2-40B4-BE49-F238E27FC236}">
                <a16:creationId xmlns:a16="http://schemas.microsoft.com/office/drawing/2014/main" id="{CCC8B457-4724-C06C-057A-A53E9D7730DA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70757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7DC17E-A97C-8916-5224-7DCDEE7DF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3742505B-2706-0320-E704-63385E13C0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42505B-2706-0320-E704-63385E13C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66A8C2A3-2390-AD71-09A5-C0424FE973C7}"/>
              </a:ext>
            </a:extLst>
          </p:cNvPr>
          <p:cNvSpPr>
            <a:spLocks/>
          </p:cNvSpPr>
          <p:nvPr/>
        </p:nvSpPr>
        <p:spPr>
          <a:xfrm>
            <a:off x="0" y="0"/>
            <a:ext cx="12193200" cy="4284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1FA26D92-0469-8753-C10B-C614938FF917}"/>
              </a:ext>
            </a:extLst>
          </p:cNvPr>
          <p:cNvSpPr/>
          <p:nvPr/>
        </p:nvSpPr>
        <p:spPr>
          <a:xfrm>
            <a:off x="1289719" y="1005702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3B2154C1-6659-69CA-FF9D-E05DF7D5198A}"/>
              </a:ext>
            </a:extLst>
          </p:cNvPr>
          <p:cNvSpPr/>
          <p:nvPr/>
        </p:nvSpPr>
        <p:spPr>
          <a:xfrm>
            <a:off x="3528632" y="1003776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5DB3E078-D32B-C3FA-9A0C-9241F52769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853288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126CEC1F-7160-D058-4EE2-48F8F5DDCD48}"/>
              </a:ext>
            </a:extLst>
          </p:cNvPr>
          <p:cNvSpPr/>
          <p:nvPr/>
        </p:nvSpPr>
        <p:spPr>
          <a:xfrm>
            <a:off x="4868219" y="2109543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4CB26C1-DC9C-5AA0-A45B-E091618CF07F}"/>
              </a:ext>
            </a:extLst>
          </p:cNvPr>
          <p:cNvSpPr txBox="1"/>
          <p:nvPr/>
        </p:nvSpPr>
        <p:spPr>
          <a:xfrm>
            <a:off x="5316141" y="1081515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6E7F2D1-10FD-2D03-63E0-77E7DD3803CE}"/>
              </a:ext>
            </a:extLst>
          </p:cNvPr>
          <p:cNvSpPr/>
          <p:nvPr/>
        </p:nvSpPr>
        <p:spPr>
          <a:xfrm>
            <a:off x="3829713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5431A29-02B3-3EA0-5E80-827398E55193}"/>
              </a:ext>
            </a:extLst>
          </p:cNvPr>
          <p:cNvSpPr/>
          <p:nvPr/>
        </p:nvSpPr>
        <p:spPr>
          <a:xfrm>
            <a:off x="382971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5B73ACF-847B-AFB2-250F-41D64DCA47C1}"/>
              </a:ext>
            </a:extLst>
          </p:cNvPr>
          <p:cNvSpPr/>
          <p:nvPr/>
        </p:nvSpPr>
        <p:spPr>
          <a:xfrm>
            <a:off x="3889093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C8F0A351-7EB2-1873-BFFD-02A91BED250B}"/>
              </a:ext>
            </a:extLst>
          </p:cNvPr>
          <p:cNvCxnSpPr/>
          <p:nvPr/>
        </p:nvCxnSpPr>
        <p:spPr>
          <a:xfrm>
            <a:off x="3829713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14A3F0B4-11A1-F2CD-35CE-69E7666AA648}"/>
              </a:ext>
            </a:extLst>
          </p:cNvPr>
          <p:cNvSpPr/>
          <p:nvPr/>
        </p:nvSpPr>
        <p:spPr>
          <a:xfrm>
            <a:off x="4073846" y="173696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5EEC44-AC4C-EF13-C2DC-159C0617B669}"/>
              </a:ext>
            </a:extLst>
          </p:cNvPr>
          <p:cNvSpPr/>
          <p:nvPr/>
        </p:nvSpPr>
        <p:spPr>
          <a:xfrm>
            <a:off x="407384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D9AEFD3-2516-BA4E-3005-D9A90D582DB9}"/>
              </a:ext>
            </a:extLst>
          </p:cNvPr>
          <p:cNvSpPr/>
          <p:nvPr/>
        </p:nvSpPr>
        <p:spPr>
          <a:xfrm>
            <a:off x="4133226" y="182297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FF4D5288-A004-30CB-2514-6225AE7CE880}"/>
              </a:ext>
            </a:extLst>
          </p:cNvPr>
          <p:cNvCxnSpPr/>
          <p:nvPr/>
        </p:nvCxnSpPr>
        <p:spPr>
          <a:xfrm>
            <a:off x="4073846" y="182090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AF2D3C5A-1A7F-ED8E-07AE-E5299BDB1A68}"/>
              </a:ext>
            </a:extLst>
          </p:cNvPr>
          <p:cNvSpPr/>
          <p:nvPr/>
        </p:nvSpPr>
        <p:spPr>
          <a:xfrm>
            <a:off x="3948447" y="1742411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27CB598-EB4D-7C92-AAAA-2D75EECD9C9B}"/>
              </a:ext>
            </a:extLst>
          </p:cNvPr>
          <p:cNvSpPr/>
          <p:nvPr/>
        </p:nvSpPr>
        <p:spPr>
          <a:xfrm>
            <a:off x="394844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3A5427B-A2A3-11B1-8268-83844D19980A}"/>
              </a:ext>
            </a:extLst>
          </p:cNvPr>
          <p:cNvSpPr/>
          <p:nvPr/>
        </p:nvSpPr>
        <p:spPr>
          <a:xfrm>
            <a:off x="4007827" y="1828421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0710BF7D-F37A-D4DF-57FA-7AB82213A8EF}"/>
              </a:ext>
            </a:extLst>
          </p:cNvPr>
          <p:cNvCxnSpPr/>
          <p:nvPr/>
        </p:nvCxnSpPr>
        <p:spPr>
          <a:xfrm>
            <a:off x="3948447" y="1826354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8E990E8A-6988-A077-5D29-4A09020C3F69}"/>
              </a:ext>
            </a:extLst>
          </p:cNvPr>
          <p:cNvSpPr/>
          <p:nvPr/>
        </p:nvSpPr>
        <p:spPr>
          <a:xfrm>
            <a:off x="3708561" y="173951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E4F9AA8-DB03-5F99-3B2B-FFF89AFC5D5F}"/>
              </a:ext>
            </a:extLst>
          </p:cNvPr>
          <p:cNvSpPr/>
          <p:nvPr/>
        </p:nvSpPr>
        <p:spPr>
          <a:xfrm>
            <a:off x="370856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47EB48F-CD25-475E-A7F4-FC027D34DABE}"/>
              </a:ext>
            </a:extLst>
          </p:cNvPr>
          <p:cNvSpPr/>
          <p:nvPr/>
        </p:nvSpPr>
        <p:spPr>
          <a:xfrm>
            <a:off x="3767941" y="182552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B76214C-C8C5-C48B-4DFB-ECBCEC715596}"/>
              </a:ext>
            </a:extLst>
          </p:cNvPr>
          <p:cNvCxnSpPr/>
          <p:nvPr/>
        </p:nvCxnSpPr>
        <p:spPr>
          <a:xfrm>
            <a:off x="3708561" y="182346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4A5C894-3DCF-A71A-468C-5A39D959B8DA}"/>
              </a:ext>
            </a:extLst>
          </p:cNvPr>
          <p:cNvCxnSpPr/>
          <p:nvPr/>
        </p:nvCxnSpPr>
        <p:spPr>
          <a:xfrm>
            <a:off x="3684224" y="1872924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4A876C6-3C9E-B148-1C32-987751A681D8}"/>
              </a:ext>
            </a:extLst>
          </p:cNvPr>
          <p:cNvSpPr txBox="1"/>
          <p:nvPr/>
        </p:nvSpPr>
        <p:spPr>
          <a:xfrm>
            <a:off x="3541591" y="1864921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269E3FB-319E-8CE8-C1B2-39564A303D42}"/>
              </a:ext>
            </a:extLst>
          </p:cNvPr>
          <p:cNvSpPr/>
          <p:nvPr/>
        </p:nvSpPr>
        <p:spPr>
          <a:xfrm>
            <a:off x="3820498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6591296-2C65-5536-9F1C-08C37822D37D}"/>
              </a:ext>
            </a:extLst>
          </p:cNvPr>
          <p:cNvSpPr/>
          <p:nvPr/>
        </p:nvSpPr>
        <p:spPr>
          <a:xfrm>
            <a:off x="382049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0E7BF1D-F328-3DCE-2850-E7F7BDB747AC}"/>
              </a:ext>
            </a:extLst>
          </p:cNvPr>
          <p:cNvSpPr/>
          <p:nvPr/>
        </p:nvSpPr>
        <p:spPr>
          <a:xfrm>
            <a:off x="3879878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490AC39-18DE-3369-28F0-8B3C9E968EAD}"/>
              </a:ext>
            </a:extLst>
          </p:cNvPr>
          <p:cNvCxnSpPr/>
          <p:nvPr/>
        </p:nvCxnSpPr>
        <p:spPr>
          <a:xfrm>
            <a:off x="3820498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79AB889E-43C5-AA44-9FF3-758FA1ABB178}"/>
              </a:ext>
            </a:extLst>
          </p:cNvPr>
          <p:cNvSpPr/>
          <p:nvPr/>
        </p:nvSpPr>
        <p:spPr>
          <a:xfrm>
            <a:off x="3699346" y="2106190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EAD86B5-58FB-FEE2-C206-BCBBE0E31CB0}"/>
              </a:ext>
            </a:extLst>
          </p:cNvPr>
          <p:cNvSpPr/>
          <p:nvPr/>
        </p:nvSpPr>
        <p:spPr>
          <a:xfrm>
            <a:off x="369934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A709C2D-B170-A2FF-9AD4-4E3E2211DEDD}"/>
              </a:ext>
            </a:extLst>
          </p:cNvPr>
          <p:cNvSpPr/>
          <p:nvPr/>
        </p:nvSpPr>
        <p:spPr>
          <a:xfrm>
            <a:off x="3758726" y="219220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438AFAD-7FA0-2CE5-EC45-8741B7FA3B26}"/>
              </a:ext>
            </a:extLst>
          </p:cNvPr>
          <p:cNvCxnSpPr/>
          <p:nvPr/>
        </p:nvCxnSpPr>
        <p:spPr>
          <a:xfrm>
            <a:off x="3699346" y="219013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5D7AFC9-9077-8D19-0964-B7B5EA0AD880}"/>
              </a:ext>
            </a:extLst>
          </p:cNvPr>
          <p:cNvCxnSpPr/>
          <p:nvPr/>
        </p:nvCxnSpPr>
        <p:spPr>
          <a:xfrm>
            <a:off x="3675009" y="223959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77EF550C-66DC-ABAD-CE0F-60EB87487140}"/>
              </a:ext>
            </a:extLst>
          </p:cNvPr>
          <p:cNvSpPr txBox="1"/>
          <p:nvPr/>
        </p:nvSpPr>
        <p:spPr>
          <a:xfrm>
            <a:off x="3532376" y="2231594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12AE0311-AA63-5FF0-2D80-F4BAC015CBA0}"/>
              </a:ext>
            </a:extLst>
          </p:cNvPr>
          <p:cNvSpPr/>
          <p:nvPr/>
        </p:nvSpPr>
        <p:spPr>
          <a:xfrm>
            <a:off x="3833137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6BB28C9A-666C-9E04-01D1-EE9223A36DB0}"/>
              </a:ext>
            </a:extLst>
          </p:cNvPr>
          <p:cNvSpPr/>
          <p:nvPr/>
        </p:nvSpPr>
        <p:spPr>
          <a:xfrm>
            <a:off x="383313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D4368D1-8FE5-1144-63DE-5825EF1169C1}"/>
              </a:ext>
            </a:extLst>
          </p:cNvPr>
          <p:cNvSpPr/>
          <p:nvPr/>
        </p:nvSpPr>
        <p:spPr>
          <a:xfrm>
            <a:off x="3892517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61674057-59D8-E170-E7B4-F659EC405B73}"/>
              </a:ext>
            </a:extLst>
          </p:cNvPr>
          <p:cNvCxnSpPr/>
          <p:nvPr/>
        </p:nvCxnSpPr>
        <p:spPr>
          <a:xfrm>
            <a:off x="3833137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50B8E151-C69D-F511-D693-58352AF686E3}"/>
              </a:ext>
            </a:extLst>
          </p:cNvPr>
          <p:cNvSpPr/>
          <p:nvPr/>
        </p:nvSpPr>
        <p:spPr>
          <a:xfrm>
            <a:off x="3951871" y="2483673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28C9C18-64A9-E71F-1E72-F8E8FFCFACAF}"/>
              </a:ext>
            </a:extLst>
          </p:cNvPr>
          <p:cNvSpPr/>
          <p:nvPr/>
        </p:nvSpPr>
        <p:spPr>
          <a:xfrm>
            <a:off x="395187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C238AAF9-2FF5-E9A8-2B9B-5601ADE078C4}"/>
              </a:ext>
            </a:extLst>
          </p:cNvPr>
          <p:cNvSpPr/>
          <p:nvPr/>
        </p:nvSpPr>
        <p:spPr>
          <a:xfrm>
            <a:off x="4011251" y="256968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5A8F56E-CC26-F8B6-D945-7136D3171CB0}"/>
              </a:ext>
            </a:extLst>
          </p:cNvPr>
          <p:cNvCxnSpPr/>
          <p:nvPr/>
        </p:nvCxnSpPr>
        <p:spPr>
          <a:xfrm>
            <a:off x="3951871" y="256761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3B6E2619-3FC6-C7F1-74FF-02CDC4823CEB}"/>
              </a:ext>
            </a:extLst>
          </p:cNvPr>
          <p:cNvSpPr/>
          <p:nvPr/>
        </p:nvSpPr>
        <p:spPr>
          <a:xfrm>
            <a:off x="3711985" y="248077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D45883F-C4D8-17C6-3381-769DC2D90F81}"/>
              </a:ext>
            </a:extLst>
          </p:cNvPr>
          <p:cNvSpPr/>
          <p:nvPr/>
        </p:nvSpPr>
        <p:spPr>
          <a:xfrm>
            <a:off x="371198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4303A567-F464-2705-D676-941B755BFF11}"/>
              </a:ext>
            </a:extLst>
          </p:cNvPr>
          <p:cNvSpPr/>
          <p:nvPr/>
        </p:nvSpPr>
        <p:spPr>
          <a:xfrm>
            <a:off x="3771365" y="2566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F3691870-9D93-1E0F-D1FE-FAF2073833D0}"/>
              </a:ext>
            </a:extLst>
          </p:cNvPr>
          <p:cNvCxnSpPr/>
          <p:nvPr/>
        </p:nvCxnSpPr>
        <p:spPr>
          <a:xfrm>
            <a:off x="3711985" y="2564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4870E6AF-26DE-3E21-7C1D-FDCF87776920}"/>
              </a:ext>
            </a:extLst>
          </p:cNvPr>
          <p:cNvCxnSpPr/>
          <p:nvPr/>
        </p:nvCxnSpPr>
        <p:spPr>
          <a:xfrm>
            <a:off x="3687648" y="2614186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8D597464-18D9-0D07-D8FF-E5696C37ACCC}"/>
              </a:ext>
            </a:extLst>
          </p:cNvPr>
          <p:cNvSpPr txBox="1"/>
          <p:nvPr/>
        </p:nvSpPr>
        <p:spPr>
          <a:xfrm>
            <a:off x="3545015" y="2606183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3E324206-C39D-A184-1BFD-6042B217C1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0887" y="1226298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B879E6F2-D985-DC38-9092-E086AF8EA9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47307" y="1195769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95FE2A9B-CD78-2B0E-CA5D-EC51FAED2B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0554888"/>
              </p:ext>
            </p:extLst>
          </p:nvPr>
        </p:nvGraphicFramePr>
        <p:xfrm>
          <a:off x="7930340" y="1636359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0BC7E6CF-3225-FCB3-6996-68A629833711}"/>
              </a:ext>
            </a:extLst>
          </p:cNvPr>
          <p:cNvSpPr txBox="1"/>
          <p:nvPr/>
        </p:nvSpPr>
        <p:spPr>
          <a:xfrm>
            <a:off x="4299179" y="653779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1FCDAB7D-A421-3516-AFB6-A3648FD31A3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510033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8CA78F58-B4B3-7C8B-5583-C253B3B4283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2091354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557A3116-8652-6464-355C-A9BD62AF28F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450810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B75C04C3-0ABB-E5E0-E0B4-D16010A3B6B9}"/>
              </a:ext>
            </a:extLst>
          </p:cNvPr>
          <p:cNvSpPr txBox="1"/>
          <p:nvPr/>
        </p:nvSpPr>
        <p:spPr>
          <a:xfrm>
            <a:off x="2554847" y="1432422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0A812DA-205D-8CE6-4573-ACBE8DF6143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953352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5376E85E-ED8C-F264-CC08-05797742027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356759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2E89D84B-4012-F92A-80C4-3FF05B7EE9C6}"/>
              </a:ext>
            </a:extLst>
          </p:cNvPr>
          <p:cNvCxnSpPr>
            <a:cxnSpLocks/>
          </p:cNvCxnSpPr>
          <p:nvPr/>
        </p:nvCxnSpPr>
        <p:spPr>
          <a:xfrm flipH="1">
            <a:off x="6401923" y="1261162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F5EFA94C-E893-2B5E-DC63-8999FA9EB11E}"/>
              </a:ext>
            </a:extLst>
          </p:cNvPr>
          <p:cNvCxnSpPr>
            <a:cxnSpLocks/>
          </p:cNvCxnSpPr>
          <p:nvPr/>
        </p:nvCxnSpPr>
        <p:spPr>
          <a:xfrm>
            <a:off x="3294469" y="1853288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9FF3B6E-52D6-E6CB-56ED-97BE6BD7B061}"/>
              </a:ext>
            </a:extLst>
          </p:cNvPr>
          <p:cNvCxnSpPr>
            <a:cxnSpLocks/>
          </p:cNvCxnSpPr>
          <p:nvPr/>
        </p:nvCxnSpPr>
        <p:spPr>
          <a:xfrm>
            <a:off x="4527752" y="2236583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50670C2-E137-FA54-62E5-B8AFBC8E72AA}"/>
              </a:ext>
            </a:extLst>
          </p:cNvPr>
          <p:cNvSpPr txBox="1"/>
          <p:nvPr/>
        </p:nvSpPr>
        <p:spPr>
          <a:xfrm>
            <a:off x="3392207" y="1432422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9D41063E-0F32-576E-9458-68C7DD82EE8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320728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6DF24F6A-8429-DE68-E57E-23F05E0CB81A}"/>
              </a:ext>
            </a:extLst>
          </p:cNvPr>
          <p:cNvSpPr txBox="1"/>
          <p:nvPr/>
        </p:nvSpPr>
        <p:spPr>
          <a:xfrm>
            <a:off x="1768848" y="1694902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825FA3FE-4AB4-CBC1-05F7-6F396EB7FC76}"/>
              </a:ext>
            </a:extLst>
          </p:cNvPr>
          <p:cNvSpPr txBox="1"/>
          <p:nvPr/>
        </p:nvSpPr>
        <p:spPr>
          <a:xfrm>
            <a:off x="1572391" y="210982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894A6E05-0B2D-8495-1732-9874FF16AE1B}"/>
              </a:ext>
            </a:extLst>
          </p:cNvPr>
          <p:cNvSpPr txBox="1"/>
          <p:nvPr/>
        </p:nvSpPr>
        <p:spPr>
          <a:xfrm>
            <a:off x="1317760" y="249553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68EAD1D5-8269-6440-8FC1-102532AFAFF8}"/>
              </a:ext>
            </a:extLst>
          </p:cNvPr>
          <p:cNvSpPr txBox="1"/>
          <p:nvPr/>
        </p:nvSpPr>
        <p:spPr>
          <a:xfrm>
            <a:off x="9763148" y="1369047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306836F3-421F-C574-6A1C-640F29B23BB1}"/>
              </a:ext>
            </a:extLst>
          </p:cNvPr>
          <p:cNvSpPr txBox="1"/>
          <p:nvPr/>
        </p:nvSpPr>
        <p:spPr>
          <a:xfrm>
            <a:off x="4025761" y="2937249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E25D1191-571E-498F-F981-DD49592C866F}"/>
              </a:ext>
            </a:extLst>
          </p:cNvPr>
          <p:cNvSpPr txBox="1"/>
          <p:nvPr/>
        </p:nvSpPr>
        <p:spPr>
          <a:xfrm>
            <a:off x="8359141" y="2912601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043A19AD-C8EF-DAE7-055A-4D27F66CB59A}"/>
              </a:ext>
            </a:extLst>
          </p:cNvPr>
          <p:cNvSpPr/>
          <p:nvPr/>
        </p:nvSpPr>
        <p:spPr>
          <a:xfrm>
            <a:off x="3528632" y="2887567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22580B06-A46D-A9BD-3165-9A4CC92E5F71}"/>
              </a:ext>
            </a:extLst>
          </p:cNvPr>
          <p:cNvCxnSpPr>
            <a:cxnSpLocks/>
          </p:cNvCxnSpPr>
          <p:nvPr/>
        </p:nvCxnSpPr>
        <p:spPr>
          <a:xfrm flipV="1">
            <a:off x="4525684" y="2354758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F1E79D82-DF3D-828C-DAD2-345DCF9E3F7A}"/>
              </a:ext>
            </a:extLst>
          </p:cNvPr>
          <p:cNvCxnSpPr>
            <a:cxnSpLocks/>
          </p:cNvCxnSpPr>
          <p:nvPr/>
        </p:nvCxnSpPr>
        <p:spPr>
          <a:xfrm>
            <a:off x="4534081" y="1862213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CF00D40C-D01A-A567-5A1E-0892FDFFC63F}"/>
              </a:ext>
            </a:extLst>
          </p:cNvPr>
          <p:cNvSpPr/>
          <p:nvPr/>
        </p:nvSpPr>
        <p:spPr>
          <a:xfrm>
            <a:off x="6599752" y="1073691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05AD5B2E-2367-FA93-5C91-98CBA82F70E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674735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9036176-B273-E503-1E93-A6646213BCC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2064418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EDCE32D5-2985-211D-B665-DE370A0C06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418551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A9616B29-F68B-6B1E-CFFB-77291F3026AA}"/>
              </a:ext>
            </a:extLst>
          </p:cNvPr>
          <p:cNvCxnSpPr>
            <a:cxnSpLocks/>
          </p:cNvCxnSpPr>
          <p:nvPr/>
        </p:nvCxnSpPr>
        <p:spPr>
          <a:xfrm>
            <a:off x="3291331" y="2239597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5710B4D1-A513-5FC8-B97D-84FC8495442E}"/>
              </a:ext>
            </a:extLst>
          </p:cNvPr>
          <p:cNvCxnSpPr>
            <a:cxnSpLocks/>
          </p:cNvCxnSpPr>
          <p:nvPr/>
        </p:nvCxnSpPr>
        <p:spPr>
          <a:xfrm>
            <a:off x="3294468" y="260618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D1615B94-D914-74D1-A83C-E1DED73A1AE1}"/>
              </a:ext>
            </a:extLst>
          </p:cNvPr>
          <p:cNvCxnSpPr>
            <a:cxnSpLocks/>
            <a:endCxn id="61" idx="0"/>
          </p:cNvCxnSpPr>
          <p:nvPr/>
        </p:nvCxnSpPr>
        <p:spPr>
          <a:xfrm rot="10800000" flipV="1">
            <a:off x="1908278" y="1414875"/>
            <a:ext cx="3024402" cy="95157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C8F2DA4C-7B51-B838-47FC-CC5CC7685962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260574"/>
            <a:ext cx="3214792" cy="69277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64FA7B93-C417-86C5-0A89-9A5C6841A5C2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1106271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BFA7FD0A-04ED-0672-5BAE-08243D14086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1034271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75453870-50D9-5772-E8D6-F8DAEC13E61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2680" y="1188574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220328D3-F575-2A73-5E90-2A23D8228CFD}"/>
              </a:ext>
            </a:extLst>
          </p:cNvPr>
          <p:cNvCxnSpPr>
            <a:cxnSpLocks/>
          </p:cNvCxnSpPr>
          <p:nvPr/>
        </p:nvCxnSpPr>
        <p:spPr>
          <a:xfrm flipH="1">
            <a:off x="5107881" y="126116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436E829E-F0A9-4308-1D8A-38FFAA4A01F3}"/>
              </a:ext>
            </a:extLst>
          </p:cNvPr>
          <p:cNvCxnSpPr>
            <a:cxnSpLocks/>
          </p:cNvCxnSpPr>
          <p:nvPr/>
        </p:nvCxnSpPr>
        <p:spPr>
          <a:xfrm flipH="1">
            <a:off x="5100738" y="1106381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CA8B3699-C877-37E6-E634-28239EE78426}"/>
              </a:ext>
            </a:extLst>
          </p:cNvPr>
          <p:cNvCxnSpPr>
            <a:cxnSpLocks/>
          </p:cNvCxnSpPr>
          <p:nvPr/>
        </p:nvCxnSpPr>
        <p:spPr>
          <a:xfrm flipH="1">
            <a:off x="5105501" y="1422526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63CBE894-FA03-99BB-CA28-83ABC7BFDB06}"/>
              </a:ext>
            </a:extLst>
          </p:cNvPr>
          <p:cNvSpPr/>
          <p:nvPr/>
        </p:nvSpPr>
        <p:spPr>
          <a:xfrm>
            <a:off x="1104099" y="812638"/>
            <a:ext cx="409151" cy="409151"/>
          </a:xfrm>
          <a:prstGeom prst="ellipse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378B6D47-1E5A-E991-021E-62470F5E0B0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713808"/>
            <a:ext cx="230400" cy="230400"/>
          </a:xfrm>
          <a:prstGeom prst="rect">
            <a:avLst/>
          </a:prstGeom>
        </p:spPr>
      </p:pic>
      <p:pic>
        <p:nvPicPr>
          <p:cNvPr id="71" name="Grafik 70" descr="Schraubenschlüssel Silhouette">
            <a:extLst>
              <a:ext uri="{FF2B5EF4-FFF2-40B4-BE49-F238E27FC236}">
                <a16:creationId xmlns:a16="http://schemas.microsoft.com/office/drawing/2014/main" id="{4037D79C-E0F3-0ADB-78A0-AB612072CCC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26123" y="1350327"/>
            <a:ext cx="144000" cy="1440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58F2F3FE-0061-A0A1-A9A6-32F9F906A2F0}"/>
              </a:ext>
            </a:extLst>
          </p:cNvPr>
          <p:cNvSpPr/>
          <p:nvPr/>
        </p:nvSpPr>
        <p:spPr>
          <a:xfrm>
            <a:off x="2593708" y="1663254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92DF8AAC-4C65-3136-BA2C-CA10FF97097A}"/>
              </a:ext>
            </a:extLst>
          </p:cNvPr>
          <p:cNvSpPr txBox="1"/>
          <p:nvPr/>
        </p:nvSpPr>
        <p:spPr>
          <a:xfrm>
            <a:off x="2742485" y="1953352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A8E55CE-17F7-C0F5-2830-673D31B05F5B}"/>
              </a:ext>
            </a:extLst>
          </p:cNvPr>
          <p:cNvSpPr/>
          <p:nvPr/>
        </p:nvSpPr>
        <p:spPr>
          <a:xfrm>
            <a:off x="4912597" y="1190507"/>
            <a:ext cx="205715" cy="319526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6882ED5F-E245-9873-95B1-488F1CEE9D81}"/>
              </a:ext>
            </a:extLst>
          </p:cNvPr>
          <p:cNvSpPr txBox="1"/>
          <p:nvPr/>
        </p:nvSpPr>
        <p:spPr>
          <a:xfrm>
            <a:off x="4718587" y="1164913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3875B43B-F665-C9CD-CDCA-791A9C86E094}"/>
              </a:ext>
            </a:extLst>
          </p:cNvPr>
          <p:cNvSpPr txBox="1"/>
          <p:nvPr/>
        </p:nvSpPr>
        <p:spPr>
          <a:xfrm>
            <a:off x="7762298" y="1149085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80BB6A9-DA14-811C-C031-FFD6C43049FB}"/>
              </a:ext>
            </a:extLst>
          </p:cNvPr>
          <p:cNvCxnSpPr>
            <a:cxnSpLocks/>
          </p:cNvCxnSpPr>
          <p:nvPr/>
        </p:nvCxnSpPr>
        <p:spPr>
          <a:xfrm flipH="1">
            <a:off x="7546982" y="1258716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4700166D-9111-27C0-586F-754645F7428C}"/>
              </a:ext>
            </a:extLst>
          </p:cNvPr>
          <p:cNvSpPr txBox="1"/>
          <p:nvPr/>
        </p:nvSpPr>
        <p:spPr>
          <a:xfrm>
            <a:off x="1347211" y="2943943"/>
            <a:ext cx="201673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3107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1123A-30B8-0F66-3CE5-BDD7A61986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9D2CBAF7-800B-4534-57C7-20C685EB76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2CBAF7-800B-4534-57C7-20C685EB7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8B866F9E-B0ED-9470-2B98-1762254C480C}"/>
              </a:ext>
            </a:extLst>
          </p:cNvPr>
          <p:cNvSpPr/>
          <p:nvPr/>
        </p:nvSpPr>
        <p:spPr>
          <a:xfrm>
            <a:off x="674472" y="466117"/>
            <a:ext cx="11162030" cy="5595025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F81748E-5B1B-0EDD-A3DC-E61F333701D2}"/>
              </a:ext>
            </a:extLst>
          </p:cNvPr>
          <p:cNvSpPr/>
          <p:nvPr/>
        </p:nvSpPr>
        <p:spPr>
          <a:xfrm>
            <a:off x="1768952" y="1783882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AF240034-F3AA-C5AD-A820-34E35FD65749}"/>
              </a:ext>
            </a:extLst>
          </p:cNvPr>
          <p:cNvSpPr/>
          <p:nvPr/>
        </p:nvSpPr>
        <p:spPr>
          <a:xfrm>
            <a:off x="1893384" y="1598145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y Chain </a:t>
            </a:r>
            <a:r>
              <a:rPr lang="de-DE" dirty="0" err="1">
                <a:solidFill>
                  <a:schemeClr val="tx1"/>
                </a:solidFill>
              </a:rPr>
              <a:t>Condition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F358F7C7-885B-10B4-EB60-2B1C7E8A8633}"/>
              </a:ext>
            </a:extLst>
          </p:cNvPr>
          <p:cNvSpPr/>
          <p:nvPr/>
        </p:nvSpPr>
        <p:spPr>
          <a:xfrm>
            <a:off x="6347249" y="2242406"/>
            <a:ext cx="151385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C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66DA074-B5B5-E453-54F4-CD3B108B74C2}"/>
              </a:ext>
            </a:extLst>
          </p:cNvPr>
          <p:cNvSpPr/>
          <p:nvPr/>
        </p:nvSpPr>
        <p:spPr>
          <a:xfrm>
            <a:off x="6513358" y="428389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626A445-F491-CCC8-A877-61486BC800E9}"/>
              </a:ext>
            </a:extLst>
          </p:cNvPr>
          <p:cNvSpPr/>
          <p:nvPr/>
        </p:nvSpPr>
        <p:spPr>
          <a:xfrm>
            <a:off x="4286593" y="3263630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AD9921C-3C90-BF4E-FB18-AD39C6684017}"/>
              </a:ext>
            </a:extLst>
          </p:cNvPr>
          <p:cNvSpPr/>
          <p:nvPr/>
        </p:nvSpPr>
        <p:spPr>
          <a:xfrm>
            <a:off x="5149240" y="4284854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467A849-C511-C606-684A-FB4CC6B23322}"/>
              </a:ext>
            </a:extLst>
          </p:cNvPr>
          <p:cNvSpPr/>
          <p:nvPr/>
        </p:nvSpPr>
        <p:spPr>
          <a:xfrm>
            <a:off x="3782575" y="4282158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D8B67C9-E1AB-68AC-345F-4D9424ACAF97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5765197" y="3429000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633C8F7-9052-93EF-0B76-D46A713693D8}"/>
              </a:ext>
            </a:extLst>
          </p:cNvPr>
          <p:cNvSpPr/>
          <p:nvPr/>
        </p:nvSpPr>
        <p:spPr>
          <a:xfrm>
            <a:off x="4876738" y="379534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1DEDCFB8-98C9-C5E6-3D34-976F44A70275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7104175" y="2573146"/>
            <a:ext cx="0" cy="7057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0FECF23F-DC5F-E36E-0870-69B16CDBABEB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7107613" y="3580902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AB7CD066-6C17-5BE6-C210-6955650B127C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5025895" y="3594370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CAE28520-EE46-B175-9E57-2218E93F2F9D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5175052" y="3944497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612618F2-F369-1F40-30C5-DF23456AB3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4379206" y="3944496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aute 12">
            <a:extLst>
              <a:ext uri="{FF2B5EF4-FFF2-40B4-BE49-F238E27FC236}">
                <a16:creationId xmlns:a16="http://schemas.microsoft.com/office/drawing/2014/main" id="{C18CB0CA-9F50-6E03-DE3B-3564B96CBF1A}"/>
              </a:ext>
            </a:extLst>
          </p:cNvPr>
          <p:cNvSpPr/>
          <p:nvPr/>
        </p:nvSpPr>
        <p:spPr>
          <a:xfrm>
            <a:off x="6958456" y="328258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42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754B93-F335-BC92-FB10-A65F53EE2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FA46B5E0-6FB1-CA89-9F2A-F12C471122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46B5E0-6FB1-CA89-9F2A-F12C47112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Rechteck 162">
            <a:extLst>
              <a:ext uri="{FF2B5EF4-FFF2-40B4-BE49-F238E27FC236}">
                <a16:creationId xmlns:a16="http://schemas.microsoft.com/office/drawing/2014/main" id="{AAD642EA-C3D5-8330-EA3A-EA48B79645E8}"/>
              </a:ext>
            </a:extLst>
          </p:cNvPr>
          <p:cNvSpPr>
            <a:spLocks/>
          </p:cNvSpPr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" name="Rechteck: obere Ecken abgeschnitten 5">
            <a:extLst>
              <a:ext uri="{FF2B5EF4-FFF2-40B4-BE49-F238E27FC236}">
                <a16:creationId xmlns:a16="http://schemas.microsoft.com/office/drawing/2014/main" id="{CDFB05B9-9BA1-3F99-A288-BF75BFB3D2C1}"/>
              </a:ext>
            </a:extLst>
          </p:cNvPr>
          <p:cNvSpPr/>
          <p:nvPr/>
        </p:nvSpPr>
        <p:spPr>
          <a:xfrm>
            <a:off x="1289719" y="791518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echteck: obere Ecken abgeschnitten 7">
            <a:extLst>
              <a:ext uri="{FF2B5EF4-FFF2-40B4-BE49-F238E27FC236}">
                <a16:creationId xmlns:a16="http://schemas.microsoft.com/office/drawing/2014/main" id="{2F19C5C0-C83D-B59B-9506-2F39F02C5890}"/>
              </a:ext>
            </a:extLst>
          </p:cNvPr>
          <p:cNvSpPr/>
          <p:nvPr/>
        </p:nvSpPr>
        <p:spPr>
          <a:xfrm>
            <a:off x="3528632" y="789592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9" name="Grafik 8" descr="Roboterhand Silhouette">
            <a:extLst>
              <a:ext uri="{FF2B5EF4-FFF2-40B4-BE49-F238E27FC236}">
                <a16:creationId xmlns:a16="http://schemas.microsoft.com/office/drawing/2014/main" id="{A179B3B8-BCAA-ECEB-FA30-7F908C47F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4507" y="1639104"/>
            <a:ext cx="363133" cy="36313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3B55BA1-39A7-16F9-205C-AE944698C9C4}"/>
              </a:ext>
            </a:extLst>
          </p:cNvPr>
          <p:cNvSpPr/>
          <p:nvPr/>
        </p:nvSpPr>
        <p:spPr>
          <a:xfrm>
            <a:off x="4868219" y="1895359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493830-A364-73DA-7087-9DC43D028CDF}"/>
              </a:ext>
            </a:extLst>
          </p:cNvPr>
          <p:cNvSpPr txBox="1"/>
          <p:nvPr/>
        </p:nvSpPr>
        <p:spPr>
          <a:xfrm>
            <a:off x="5316141" y="867331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7D1F9B-D85C-D674-9C1C-B566F9C37337}"/>
              </a:ext>
            </a:extLst>
          </p:cNvPr>
          <p:cNvSpPr/>
          <p:nvPr/>
        </p:nvSpPr>
        <p:spPr>
          <a:xfrm>
            <a:off x="3829713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990C4AD-9F53-3621-1857-42347280034B}"/>
              </a:ext>
            </a:extLst>
          </p:cNvPr>
          <p:cNvSpPr/>
          <p:nvPr/>
        </p:nvSpPr>
        <p:spPr>
          <a:xfrm>
            <a:off x="382971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D6B7658-519D-F166-7991-4EE87A8A3786}"/>
              </a:ext>
            </a:extLst>
          </p:cNvPr>
          <p:cNvSpPr/>
          <p:nvPr/>
        </p:nvSpPr>
        <p:spPr>
          <a:xfrm>
            <a:off x="3889093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6B7E3DF-3BC3-404D-D872-5C6C6E1F4A8C}"/>
              </a:ext>
            </a:extLst>
          </p:cNvPr>
          <p:cNvCxnSpPr/>
          <p:nvPr/>
        </p:nvCxnSpPr>
        <p:spPr>
          <a:xfrm>
            <a:off x="3829713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6BD2A3CB-1E99-6281-7F41-88B54C679324}"/>
              </a:ext>
            </a:extLst>
          </p:cNvPr>
          <p:cNvSpPr/>
          <p:nvPr/>
        </p:nvSpPr>
        <p:spPr>
          <a:xfrm>
            <a:off x="4073846" y="1522779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6F0EFE57-953A-297F-AEFF-4363318987F3}"/>
              </a:ext>
            </a:extLst>
          </p:cNvPr>
          <p:cNvSpPr/>
          <p:nvPr/>
        </p:nvSpPr>
        <p:spPr>
          <a:xfrm>
            <a:off x="407384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424DF1A-467D-3912-F4A7-D584E0579088}"/>
              </a:ext>
            </a:extLst>
          </p:cNvPr>
          <p:cNvSpPr/>
          <p:nvPr/>
        </p:nvSpPr>
        <p:spPr>
          <a:xfrm>
            <a:off x="4133226" y="160878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BD4C57B-1386-2CDD-0A05-408E2B167561}"/>
              </a:ext>
            </a:extLst>
          </p:cNvPr>
          <p:cNvCxnSpPr/>
          <p:nvPr/>
        </p:nvCxnSpPr>
        <p:spPr>
          <a:xfrm>
            <a:off x="4073846" y="160672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ED8442B4-65F7-660F-2C8D-9C3231534E85}"/>
              </a:ext>
            </a:extLst>
          </p:cNvPr>
          <p:cNvSpPr/>
          <p:nvPr/>
        </p:nvSpPr>
        <p:spPr>
          <a:xfrm>
            <a:off x="3948447" y="1528227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BB60F-C84D-EADE-6A35-0B26DFE38843}"/>
              </a:ext>
            </a:extLst>
          </p:cNvPr>
          <p:cNvSpPr/>
          <p:nvPr/>
        </p:nvSpPr>
        <p:spPr>
          <a:xfrm>
            <a:off x="394844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E258C95-6F65-14F2-B556-1EE6EE6FFD64}"/>
              </a:ext>
            </a:extLst>
          </p:cNvPr>
          <p:cNvSpPr/>
          <p:nvPr/>
        </p:nvSpPr>
        <p:spPr>
          <a:xfrm>
            <a:off x="4007827" y="161423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44D60990-C1D3-BBA7-A327-7407ADE557EE}"/>
              </a:ext>
            </a:extLst>
          </p:cNvPr>
          <p:cNvCxnSpPr/>
          <p:nvPr/>
        </p:nvCxnSpPr>
        <p:spPr>
          <a:xfrm>
            <a:off x="3948447" y="161217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A9622A99-7454-8D49-2027-8235BFD222B2}"/>
              </a:ext>
            </a:extLst>
          </p:cNvPr>
          <p:cNvSpPr/>
          <p:nvPr/>
        </p:nvSpPr>
        <p:spPr>
          <a:xfrm>
            <a:off x="3708561" y="1525333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9D19825-9E65-5CBC-3C9C-C2CEADDF2C9E}"/>
              </a:ext>
            </a:extLst>
          </p:cNvPr>
          <p:cNvSpPr/>
          <p:nvPr/>
        </p:nvSpPr>
        <p:spPr>
          <a:xfrm>
            <a:off x="370856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538878D-9FE7-01D7-DD91-F23BF24976AF}"/>
              </a:ext>
            </a:extLst>
          </p:cNvPr>
          <p:cNvSpPr/>
          <p:nvPr/>
        </p:nvSpPr>
        <p:spPr>
          <a:xfrm>
            <a:off x="3767941" y="1611343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F95B54-75BA-A68B-0CA7-889B8D714E4F}"/>
              </a:ext>
            </a:extLst>
          </p:cNvPr>
          <p:cNvCxnSpPr/>
          <p:nvPr/>
        </p:nvCxnSpPr>
        <p:spPr>
          <a:xfrm>
            <a:off x="3708561" y="1609276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30205DE-D4A9-C6FF-C3A5-36DB1B60F386}"/>
              </a:ext>
            </a:extLst>
          </p:cNvPr>
          <p:cNvCxnSpPr/>
          <p:nvPr/>
        </p:nvCxnSpPr>
        <p:spPr>
          <a:xfrm>
            <a:off x="3684224" y="1658740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9603984C-712A-92B4-18A5-DDC77032DE2D}"/>
              </a:ext>
            </a:extLst>
          </p:cNvPr>
          <p:cNvSpPr txBox="1"/>
          <p:nvPr/>
        </p:nvSpPr>
        <p:spPr>
          <a:xfrm>
            <a:off x="3541591" y="1650737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7078048-1896-8D3E-97BE-9233600DD9B2}"/>
              </a:ext>
            </a:extLst>
          </p:cNvPr>
          <p:cNvSpPr/>
          <p:nvPr/>
        </p:nvSpPr>
        <p:spPr>
          <a:xfrm>
            <a:off x="3820498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965836C8-EA7D-5C99-7C52-D562676655B6}"/>
              </a:ext>
            </a:extLst>
          </p:cNvPr>
          <p:cNvSpPr/>
          <p:nvPr/>
        </p:nvSpPr>
        <p:spPr>
          <a:xfrm>
            <a:off x="382049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4732B2F-9318-F973-5152-0FE32016A011}"/>
              </a:ext>
            </a:extLst>
          </p:cNvPr>
          <p:cNvSpPr/>
          <p:nvPr/>
        </p:nvSpPr>
        <p:spPr>
          <a:xfrm>
            <a:off x="3879878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BE91263-BB6A-F268-9345-FE1C80F61788}"/>
              </a:ext>
            </a:extLst>
          </p:cNvPr>
          <p:cNvCxnSpPr/>
          <p:nvPr/>
        </p:nvCxnSpPr>
        <p:spPr>
          <a:xfrm>
            <a:off x="3820498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F60F9F5A-B7F2-EC42-C282-BDF34EDAF208}"/>
              </a:ext>
            </a:extLst>
          </p:cNvPr>
          <p:cNvSpPr/>
          <p:nvPr/>
        </p:nvSpPr>
        <p:spPr>
          <a:xfrm>
            <a:off x="3699346" y="1892006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26801D6-6108-929D-6D32-C2A2E7D6D7A9}"/>
              </a:ext>
            </a:extLst>
          </p:cNvPr>
          <p:cNvSpPr/>
          <p:nvPr/>
        </p:nvSpPr>
        <p:spPr>
          <a:xfrm>
            <a:off x="369934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DE3149D-9843-FDF3-C014-D96E0E084EFD}"/>
              </a:ext>
            </a:extLst>
          </p:cNvPr>
          <p:cNvSpPr/>
          <p:nvPr/>
        </p:nvSpPr>
        <p:spPr>
          <a:xfrm>
            <a:off x="3758726" y="19780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96CBF78-E47E-94F7-2E7A-ECC03E65B908}"/>
              </a:ext>
            </a:extLst>
          </p:cNvPr>
          <p:cNvCxnSpPr/>
          <p:nvPr/>
        </p:nvCxnSpPr>
        <p:spPr>
          <a:xfrm>
            <a:off x="3699346" y="19759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B27B8EE-BE90-195F-0817-63C64E0957CC}"/>
              </a:ext>
            </a:extLst>
          </p:cNvPr>
          <p:cNvCxnSpPr/>
          <p:nvPr/>
        </p:nvCxnSpPr>
        <p:spPr>
          <a:xfrm>
            <a:off x="3675009" y="2025413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38494126-FA67-3902-1D54-B4272655FCE0}"/>
              </a:ext>
            </a:extLst>
          </p:cNvPr>
          <p:cNvSpPr txBox="1"/>
          <p:nvPr/>
        </p:nvSpPr>
        <p:spPr>
          <a:xfrm>
            <a:off x="3532376" y="2017410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845819AB-D16F-85EA-22AD-96497F0126BB}"/>
              </a:ext>
            </a:extLst>
          </p:cNvPr>
          <p:cNvSpPr/>
          <p:nvPr/>
        </p:nvSpPr>
        <p:spPr>
          <a:xfrm>
            <a:off x="3833137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FE29B4D-8D0D-F8FF-A46C-C6A560949BBA}"/>
              </a:ext>
            </a:extLst>
          </p:cNvPr>
          <p:cNvSpPr/>
          <p:nvPr/>
        </p:nvSpPr>
        <p:spPr>
          <a:xfrm>
            <a:off x="383313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EAFE991-E9EB-E993-32C8-B2CB0D8569B1}"/>
              </a:ext>
            </a:extLst>
          </p:cNvPr>
          <p:cNvSpPr/>
          <p:nvPr/>
        </p:nvSpPr>
        <p:spPr>
          <a:xfrm>
            <a:off x="3892517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0DE6801-D707-BDEB-9511-C441FE66EE58}"/>
              </a:ext>
            </a:extLst>
          </p:cNvPr>
          <p:cNvCxnSpPr/>
          <p:nvPr/>
        </p:nvCxnSpPr>
        <p:spPr>
          <a:xfrm>
            <a:off x="3833137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D9FE52CD-A8D7-CB6D-672B-E87E7202AB4C}"/>
              </a:ext>
            </a:extLst>
          </p:cNvPr>
          <p:cNvSpPr/>
          <p:nvPr/>
        </p:nvSpPr>
        <p:spPr>
          <a:xfrm>
            <a:off x="3951871" y="2269489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C30ADBF-A914-3505-C173-1C97277F5F52}"/>
              </a:ext>
            </a:extLst>
          </p:cNvPr>
          <p:cNvSpPr/>
          <p:nvPr/>
        </p:nvSpPr>
        <p:spPr>
          <a:xfrm>
            <a:off x="395187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DF09DE44-71A9-62CE-BE9A-2FF1314BCEAD}"/>
              </a:ext>
            </a:extLst>
          </p:cNvPr>
          <p:cNvSpPr/>
          <p:nvPr/>
        </p:nvSpPr>
        <p:spPr>
          <a:xfrm>
            <a:off x="4011251" y="2355499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65D487A-50C5-6DEA-F17F-384DEC918450}"/>
              </a:ext>
            </a:extLst>
          </p:cNvPr>
          <p:cNvCxnSpPr/>
          <p:nvPr/>
        </p:nvCxnSpPr>
        <p:spPr>
          <a:xfrm>
            <a:off x="3951871" y="2353432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52A73705-31B8-6543-8FB9-454AD0B03D0D}"/>
              </a:ext>
            </a:extLst>
          </p:cNvPr>
          <p:cNvSpPr/>
          <p:nvPr/>
        </p:nvSpPr>
        <p:spPr>
          <a:xfrm>
            <a:off x="3711985" y="2266595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480717F-231C-1F1D-E4AC-5977C29CE4E6}"/>
              </a:ext>
            </a:extLst>
          </p:cNvPr>
          <p:cNvSpPr/>
          <p:nvPr/>
        </p:nvSpPr>
        <p:spPr>
          <a:xfrm>
            <a:off x="371198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1DF2FA60-8101-2E77-B716-BC8681FC9E11}"/>
              </a:ext>
            </a:extLst>
          </p:cNvPr>
          <p:cNvSpPr/>
          <p:nvPr/>
        </p:nvSpPr>
        <p:spPr>
          <a:xfrm>
            <a:off x="3771365" y="2352605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3A1B19CD-27A0-508F-6BD1-CD368C10158E}"/>
              </a:ext>
            </a:extLst>
          </p:cNvPr>
          <p:cNvCxnSpPr/>
          <p:nvPr/>
        </p:nvCxnSpPr>
        <p:spPr>
          <a:xfrm>
            <a:off x="3711985" y="2350538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26309104-7A6A-CD50-8E57-B86789725FEE}"/>
              </a:ext>
            </a:extLst>
          </p:cNvPr>
          <p:cNvCxnSpPr/>
          <p:nvPr/>
        </p:nvCxnSpPr>
        <p:spPr>
          <a:xfrm>
            <a:off x="3687648" y="2400002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91BCA08D-FF17-FBF5-C665-1A0AF41318D3}"/>
              </a:ext>
            </a:extLst>
          </p:cNvPr>
          <p:cNvSpPr txBox="1"/>
          <p:nvPr/>
        </p:nvSpPr>
        <p:spPr>
          <a:xfrm>
            <a:off x="3545015" y="2391999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57" name="Grafik 56" descr="Datenbank Silhouette">
            <a:extLst>
              <a:ext uri="{FF2B5EF4-FFF2-40B4-BE49-F238E27FC236}">
                <a16:creationId xmlns:a16="http://schemas.microsoft.com/office/drawing/2014/main" id="{862344AE-E90F-7C5B-8B02-17DA22E4BD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78115" y="1018677"/>
            <a:ext cx="433992" cy="433992"/>
          </a:xfrm>
          <a:prstGeom prst="rect">
            <a:avLst/>
          </a:prstGeom>
        </p:spPr>
      </p:pic>
      <p:pic>
        <p:nvPicPr>
          <p:cNvPr id="58" name="Grafik 57" descr="Computer Silhouette">
            <a:extLst>
              <a:ext uri="{FF2B5EF4-FFF2-40B4-BE49-F238E27FC236}">
                <a16:creationId xmlns:a16="http://schemas.microsoft.com/office/drawing/2014/main" id="{CB9A472E-550D-3617-0649-18A0E3D21F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54535" y="988148"/>
            <a:ext cx="531660" cy="531660"/>
          </a:xfrm>
          <a:prstGeom prst="rect">
            <a:avLst/>
          </a:prstGeom>
        </p:spPr>
      </p:pic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248D9B78-CAE5-3192-D6E5-7458E48E3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190014"/>
              </p:ext>
            </p:extLst>
          </p:nvPr>
        </p:nvGraphicFramePr>
        <p:xfrm>
          <a:off x="7930340" y="1422175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A02536C0-956F-587A-7D57-8EFC00D3DC54}"/>
              </a:ext>
            </a:extLst>
          </p:cNvPr>
          <p:cNvSpPr txBox="1"/>
          <p:nvPr/>
        </p:nvSpPr>
        <p:spPr>
          <a:xfrm>
            <a:off x="4299179" y="439595"/>
            <a:ext cx="3821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Aptos" panose="02110004020202020204"/>
              </a:rPr>
              <a:t>Customer | Multi Sourcing per Item</a:t>
            </a:r>
          </a:p>
        </p:txBody>
      </p:sp>
      <p:pic>
        <p:nvPicPr>
          <p:cNvPr id="61" name="Grafik 60" descr="Cmd (Terminal) Silhouette">
            <a:extLst>
              <a:ext uri="{FF2B5EF4-FFF2-40B4-BE49-F238E27FC236}">
                <a16:creationId xmlns:a16="http://schemas.microsoft.com/office/drawing/2014/main" id="{915294CA-A00C-7A68-CC64-062C5AA0D9F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11512" y="1295849"/>
            <a:ext cx="193532" cy="193532"/>
          </a:xfrm>
          <a:prstGeom prst="rect">
            <a:avLst/>
          </a:prstGeom>
        </p:spPr>
      </p:pic>
      <p:pic>
        <p:nvPicPr>
          <p:cNvPr id="65" name="Grafik 64" descr="Schraubenschlüssel Silhouette">
            <a:extLst>
              <a:ext uri="{FF2B5EF4-FFF2-40B4-BE49-F238E27FC236}">
                <a16:creationId xmlns:a16="http://schemas.microsoft.com/office/drawing/2014/main" id="{ACC47406-1AB7-A8B5-FF7D-6CF1E68199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25032" y="1877170"/>
            <a:ext cx="230400" cy="230400"/>
          </a:xfrm>
          <a:prstGeom prst="rect">
            <a:avLst/>
          </a:prstGeom>
        </p:spPr>
      </p:pic>
      <p:pic>
        <p:nvPicPr>
          <p:cNvPr id="66" name="Grafik 65" descr="Schraubenzieher Silhouette">
            <a:extLst>
              <a:ext uri="{FF2B5EF4-FFF2-40B4-BE49-F238E27FC236}">
                <a16:creationId xmlns:a16="http://schemas.microsoft.com/office/drawing/2014/main" id="{BD679E47-2F5F-6DFC-6B3B-CF5022F3EA2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5032" y="2236626"/>
            <a:ext cx="230400" cy="23040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3971735F-F6C0-9793-34C4-7923B1EBCE6A}"/>
              </a:ext>
            </a:extLst>
          </p:cNvPr>
          <p:cNvSpPr txBox="1"/>
          <p:nvPr/>
        </p:nvSpPr>
        <p:spPr>
          <a:xfrm>
            <a:off x="2554847" y="1218238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68" name="Grafik 67" descr="Cmd (Terminal) Silhouette">
            <a:extLst>
              <a:ext uri="{FF2B5EF4-FFF2-40B4-BE49-F238E27FC236}">
                <a16:creationId xmlns:a16="http://schemas.microsoft.com/office/drawing/2014/main" id="{426AC42E-A413-E195-DCCA-C905F28CD33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21122" y="1739168"/>
            <a:ext cx="193532" cy="193532"/>
          </a:xfrm>
          <a:prstGeom prst="rect">
            <a:avLst/>
          </a:prstGeom>
        </p:spPr>
      </p:pic>
      <p:pic>
        <p:nvPicPr>
          <p:cNvPr id="69" name="Grafik 68" descr="Cmd (Terminal) Silhouette">
            <a:extLst>
              <a:ext uri="{FF2B5EF4-FFF2-40B4-BE49-F238E27FC236}">
                <a16:creationId xmlns:a16="http://schemas.microsoft.com/office/drawing/2014/main" id="{AF2B1821-6035-B3CA-AFEB-C4AE43CE093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74992" y="2142575"/>
            <a:ext cx="193532" cy="193532"/>
          </a:xfrm>
          <a:prstGeom prst="rect">
            <a:avLst/>
          </a:prstGeom>
        </p:spPr>
      </p:pic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854860CA-E8C8-390F-44C3-31FAE9A3F7A9}"/>
              </a:ext>
            </a:extLst>
          </p:cNvPr>
          <p:cNvCxnSpPr>
            <a:cxnSpLocks/>
          </p:cNvCxnSpPr>
          <p:nvPr/>
        </p:nvCxnSpPr>
        <p:spPr>
          <a:xfrm flipH="1">
            <a:off x="6401923" y="104697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18FCF98E-29FC-BF71-8250-A2865A9DCA9D}"/>
              </a:ext>
            </a:extLst>
          </p:cNvPr>
          <p:cNvCxnSpPr>
            <a:cxnSpLocks/>
          </p:cNvCxnSpPr>
          <p:nvPr/>
        </p:nvCxnSpPr>
        <p:spPr>
          <a:xfrm>
            <a:off x="3294469" y="1639104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3F0C5D9-AD5E-6196-BBB4-FBA5A5F06FA0}"/>
              </a:ext>
            </a:extLst>
          </p:cNvPr>
          <p:cNvCxnSpPr>
            <a:cxnSpLocks/>
          </p:cNvCxnSpPr>
          <p:nvPr/>
        </p:nvCxnSpPr>
        <p:spPr>
          <a:xfrm>
            <a:off x="4527752" y="2022399"/>
            <a:ext cx="301755" cy="0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8" name="Textfeld 157">
            <a:extLst>
              <a:ext uri="{FF2B5EF4-FFF2-40B4-BE49-F238E27FC236}">
                <a16:creationId xmlns:a16="http://schemas.microsoft.com/office/drawing/2014/main" id="{E8A70682-5E32-2D08-79DA-91EE50E001DF}"/>
              </a:ext>
            </a:extLst>
          </p:cNvPr>
          <p:cNvSpPr txBox="1"/>
          <p:nvPr/>
        </p:nvSpPr>
        <p:spPr>
          <a:xfrm>
            <a:off x="3392207" y="1218238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pic>
        <p:nvPicPr>
          <p:cNvPr id="160" name="Grafik 159" descr="Fabrik Silhouette">
            <a:extLst>
              <a:ext uri="{FF2B5EF4-FFF2-40B4-BE49-F238E27FC236}">
                <a16:creationId xmlns:a16="http://schemas.microsoft.com/office/drawing/2014/main" id="{D9AD8E14-C6E5-B20D-48BD-7EE2A8A641C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98450" y="106544"/>
            <a:ext cx="705110" cy="705110"/>
          </a:xfrm>
          <a:prstGeom prst="rect">
            <a:avLst/>
          </a:prstGeom>
        </p:spPr>
      </p:pic>
      <p:sp>
        <p:nvSpPr>
          <p:cNvPr id="165" name="Textfeld 164">
            <a:extLst>
              <a:ext uri="{FF2B5EF4-FFF2-40B4-BE49-F238E27FC236}">
                <a16:creationId xmlns:a16="http://schemas.microsoft.com/office/drawing/2014/main" id="{9D6C8927-B7A8-7934-0358-55DFF2116696}"/>
              </a:ext>
            </a:extLst>
          </p:cNvPr>
          <p:cNvSpPr txBox="1"/>
          <p:nvPr/>
        </p:nvSpPr>
        <p:spPr>
          <a:xfrm>
            <a:off x="1768848" y="1480718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003F3256-D8DD-43F4-726B-9493BF27C4C8}"/>
              </a:ext>
            </a:extLst>
          </p:cNvPr>
          <p:cNvSpPr txBox="1"/>
          <p:nvPr/>
        </p:nvSpPr>
        <p:spPr>
          <a:xfrm>
            <a:off x="1572391" y="1895644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4BEA8912-F4C0-60CB-DE3C-80767E3AB807}"/>
              </a:ext>
            </a:extLst>
          </p:cNvPr>
          <p:cNvSpPr txBox="1"/>
          <p:nvPr/>
        </p:nvSpPr>
        <p:spPr>
          <a:xfrm>
            <a:off x="1317760" y="2281350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69" name="Textfeld 168">
            <a:extLst>
              <a:ext uri="{FF2B5EF4-FFF2-40B4-BE49-F238E27FC236}">
                <a16:creationId xmlns:a16="http://schemas.microsoft.com/office/drawing/2014/main" id="{26435760-BD26-74E6-B52F-29371A5D4A4B}"/>
              </a:ext>
            </a:extLst>
          </p:cNvPr>
          <p:cNvSpPr txBox="1"/>
          <p:nvPr/>
        </p:nvSpPr>
        <p:spPr>
          <a:xfrm>
            <a:off x="9770376" y="1161426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59AC6D1B-ADF1-B285-8F4D-4670941519A2}"/>
              </a:ext>
            </a:extLst>
          </p:cNvPr>
          <p:cNvSpPr txBox="1"/>
          <p:nvPr/>
        </p:nvSpPr>
        <p:spPr>
          <a:xfrm>
            <a:off x="4025761" y="2723065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207FE4D1-B2C5-E603-97D3-201DA04C8A4E}"/>
              </a:ext>
            </a:extLst>
          </p:cNvPr>
          <p:cNvSpPr txBox="1"/>
          <p:nvPr/>
        </p:nvSpPr>
        <p:spPr>
          <a:xfrm>
            <a:off x="8359141" y="2698417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rgbClr val="92D050"/>
                </a:solidFill>
                <a:latin typeface="Aptos" panose="02110004020202020204"/>
              </a:rPr>
              <a:t>yes</a:t>
            </a:r>
            <a:endParaRPr lang="de-DE" sz="1000" dirty="0">
              <a:solidFill>
                <a:srgbClr val="92D050"/>
              </a:solidFill>
              <a:latin typeface="Aptos" panose="02110004020202020204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558433D4-E5C0-2D9E-896F-D447B8B46161}"/>
              </a:ext>
            </a:extLst>
          </p:cNvPr>
          <p:cNvSpPr/>
          <p:nvPr/>
        </p:nvSpPr>
        <p:spPr>
          <a:xfrm>
            <a:off x="3528632" y="2673383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C8AC0D3F-B5AC-D5BB-1E9B-0F20D8392217}"/>
              </a:ext>
            </a:extLst>
          </p:cNvPr>
          <p:cNvCxnSpPr>
            <a:cxnSpLocks/>
          </p:cNvCxnSpPr>
          <p:nvPr/>
        </p:nvCxnSpPr>
        <p:spPr>
          <a:xfrm flipV="1">
            <a:off x="4525684" y="2140574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8E35E48F-E7F5-EF3E-2DE1-A34535A667B9}"/>
              </a:ext>
            </a:extLst>
          </p:cNvPr>
          <p:cNvCxnSpPr>
            <a:cxnSpLocks/>
          </p:cNvCxnSpPr>
          <p:nvPr/>
        </p:nvCxnSpPr>
        <p:spPr>
          <a:xfrm>
            <a:off x="4534081" y="1648029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1" name="Rechteck 170">
            <a:extLst>
              <a:ext uri="{FF2B5EF4-FFF2-40B4-BE49-F238E27FC236}">
                <a16:creationId xmlns:a16="http://schemas.microsoft.com/office/drawing/2014/main" id="{40D3A811-D326-A134-7AC2-46606CEBB206}"/>
              </a:ext>
            </a:extLst>
          </p:cNvPr>
          <p:cNvSpPr/>
          <p:nvPr/>
        </p:nvSpPr>
        <p:spPr>
          <a:xfrm>
            <a:off x="6599752" y="859507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86" name="Grafik 185" descr="LKW Silhouette">
            <a:extLst>
              <a:ext uri="{FF2B5EF4-FFF2-40B4-BE49-F238E27FC236}">
                <a16:creationId xmlns:a16="http://schemas.microsoft.com/office/drawing/2014/main" id="{31B4990F-B3DC-5147-AF2B-BEBE95C5CC0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1590" y="1460551"/>
            <a:ext cx="317500" cy="317500"/>
          </a:xfrm>
          <a:prstGeom prst="rect">
            <a:avLst/>
          </a:prstGeom>
        </p:spPr>
      </p:pic>
      <p:pic>
        <p:nvPicPr>
          <p:cNvPr id="187" name="Grafik 186" descr="LKW Silhouette">
            <a:extLst>
              <a:ext uri="{FF2B5EF4-FFF2-40B4-BE49-F238E27FC236}">
                <a16:creationId xmlns:a16="http://schemas.microsoft.com/office/drawing/2014/main" id="{0D02CF4E-61DA-DEFF-2B19-779792B505C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3161" y="1850234"/>
            <a:ext cx="317500" cy="317500"/>
          </a:xfrm>
          <a:prstGeom prst="rect">
            <a:avLst/>
          </a:prstGeom>
        </p:spPr>
      </p:pic>
      <p:pic>
        <p:nvPicPr>
          <p:cNvPr id="188" name="Grafik 187" descr="LKW Silhouette">
            <a:extLst>
              <a:ext uri="{FF2B5EF4-FFF2-40B4-BE49-F238E27FC236}">
                <a16:creationId xmlns:a16="http://schemas.microsoft.com/office/drawing/2014/main" id="{25881DE6-37D9-CEB6-30C4-7A8C133C995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45672" y="2204367"/>
            <a:ext cx="317500" cy="317500"/>
          </a:xfrm>
          <a:prstGeom prst="rect">
            <a:avLst/>
          </a:prstGeom>
        </p:spPr>
      </p:pic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BEB87526-446F-533D-58FE-E79A70BC39D3}"/>
              </a:ext>
            </a:extLst>
          </p:cNvPr>
          <p:cNvCxnSpPr>
            <a:cxnSpLocks/>
          </p:cNvCxnSpPr>
          <p:nvPr/>
        </p:nvCxnSpPr>
        <p:spPr>
          <a:xfrm>
            <a:off x="3291331" y="2025413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2D718723-3760-7433-8348-8A52B725BE4A}"/>
              </a:ext>
            </a:extLst>
          </p:cNvPr>
          <p:cNvCxnSpPr>
            <a:cxnSpLocks/>
          </p:cNvCxnSpPr>
          <p:nvPr/>
        </p:nvCxnSpPr>
        <p:spPr>
          <a:xfrm>
            <a:off x="3294468" y="2391999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8" name="Verbinder: gewinkelt 197">
            <a:extLst>
              <a:ext uri="{FF2B5EF4-FFF2-40B4-BE49-F238E27FC236}">
                <a16:creationId xmlns:a16="http://schemas.microsoft.com/office/drawing/2014/main" id="{7388B212-6E34-D10C-1D97-CF1F63592398}"/>
              </a:ext>
            </a:extLst>
          </p:cNvPr>
          <p:cNvCxnSpPr>
            <a:cxnSpLocks/>
            <a:stCxn id="211" idx="1"/>
            <a:endCxn id="61" idx="0"/>
          </p:cNvCxnSpPr>
          <p:nvPr/>
        </p:nvCxnSpPr>
        <p:spPr>
          <a:xfrm rot="10800000" flipV="1">
            <a:off x="1908278" y="1102787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Verbinder: gewinkelt 200">
            <a:extLst>
              <a:ext uri="{FF2B5EF4-FFF2-40B4-BE49-F238E27FC236}">
                <a16:creationId xmlns:a16="http://schemas.microsoft.com/office/drawing/2014/main" id="{49B7D4B2-5721-312E-3C98-A09AC2801F56}"/>
              </a:ext>
            </a:extLst>
          </p:cNvPr>
          <p:cNvCxnSpPr>
            <a:cxnSpLocks/>
            <a:stCxn id="211" idx="1"/>
            <a:endCxn id="68" idx="0"/>
          </p:cNvCxnSpPr>
          <p:nvPr/>
        </p:nvCxnSpPr>
        <p:spPr>
          <a:xfrm rot="10800000" flipV="1">
            <a:off x="1717888" y="1102788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Verbinder: gewinkelt 202">
            <a:extLst>
              <a:ext uri="{FF2B5EF4-FFF2-40B4-BE49-F238E27FC236}">
                <a16:creationId xmlns:a16="http://schemas.microsoft.com/office/drawing/2014/main" id="{A4E805AA-1A8F-381A-15F2-ACF89067BBCD}"/>
              </a:ext>
            </a:extLst>
          </p:cNvPr>
          <p:cNvCxnSpPr>
            <a:cxnSpLocks/>
            <a:stCxn id="210" idx="1"/>
            <a:endCxn id="69" idx="0"/>
          </p:cNvCxnSpPr>
          <p:nvPr/>
        </p:nvCxnSpPr>
        <p:spPr>
          <a:xfrm rot="10800000" flipV="1">
            <a:off x="1471758" y="892087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0" name="Grafik 209" descr="Schraubenzieher Silhouette">
            <a:extLst>
              <a:ext uri="{FF2B5EF4-FFF2-40B4-BE49-F238E27FC236}">
                <a16:creationId xmlns:a16="http://schemas.microsoft.com/office/drawing/2014/main" id="{37D24EC6-3805-D4DD-9F7E-A276B09F63D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32680" y="820087"/>
            <a:ext cx="144000" cy="144000"/>
          </a:xfrm>
          <a:prstGeom prst="rect">
            <a:avLst/>
          </a:prstGeom>
        </p:spPr>
      </p:pic>
      <p:pic>
        <p:nvPicPr>
          <p:cNvPr id="211" name="Grafik 210" descr="Schraubenschlüssel Silhouette">
            <a:extLst>
              <a:ext uri="{FF2B5EF4-FFF2-40B4-BE49-F238E27FC236}">
                <a16:creationId xmlns:a16="http://schemas.microsoft.com/office/drawing/2014/main" id="{D21254ED-7BF8-CBED-523C-9FD9D342428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38634" y="1030788"/>
            <a:ext cx="144000" cy="144000"/>
          </a:xfrm>
          <a:prstGeom prst="rect">
            <a:avLst/>
          </a:prstGeom>
        </p:spPr>
      </p:pic>
      <p:cxnSp>
        <p:nvCxnSpPr>
          <p:cNvPr id="226" name="Gerade Verbindung mit Pfeil 225">
            <a:extLst>
              <a:ext uri="{FF2B5EF4-FFF2-40B4-BE49-F238E27FC236}">
                <a16:creationId xmlns:a16="http://schemas.microsoft.com/office/drawing/2014/main" id="{A05F5E04-F0F0-9BE4-C7A9-ADEF53684F41}"/>
              </a:ext>
            </a:extLst>
          </p:cNvPr>
          <p:cNvCxnSpPr>
            <a:cxnSpLocks/>
          </p:cNvCxnSpPr>
          <p:nvPr/>
        </p:nvCxnSpPr>
        <p:spPr>
          <a:xfrm flipH="1">
            <a:off x="5123453" y="1119072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8" name="Gerade Verbindung mit Pfeil 227">
            <a:extLst>
              <a:ext uri="{FF2B5EF4-FFF2-40B4-BE49-F238E27FC236}">
                <a16:creationId xmlns:a16="http://schemas.microsoft.com/office/drawing/2014/main" id="{8A9C9B3C-F5F7-E8A1-6C2B-422429FEDEB2}"/>
              </a:ext>
            </a:extLst>
          </p:cNvPr>
          <p:cNvCxnSpPr>
            <a:cxnSpLocks/>
          </p:cNvCxnSpPr>
          <p:nvPr/>
        </p:nvCxnSpPr>
        <p:spPr>
          <a:xfrm flipH="1">
            <a:off x="5100738" y="892197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3" name="Ellipse 182">
            <a:extLst>
              <a:ext uri="{FF2B5EF4-FFF2-40B4-BE49-F238E27FC236}">
                <a16:creationId xmlns:a16="http://schemas.microsoft.com/office/drawing/2014/main" id="{988CC148-8E66-E169-DADE-6C37D748B12C}"/>
              </a:ext>
            </a:extLst>
          </p:cNvPr>
          <p:cNvSpPr/>
          <p:nvPr/>
        </p:nvSpPr>
        <p:spPr>
          <a:xfrm>
            <a:off x="1104099" y="598454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63" name="Grafik 62" descr="Schraubenschlüssel Silhouette">
            <a:extLst>
              <a:ext uri="{FF2B5EF4-FFF2-40B4-BE49-F238E27FC236}">
                <a16:creationId xmlns:a16="http://schemas.microsoft.com/office/drawing/2014/main" id="{20D5322B-8471-B47C-6D17-723CEAC7DA5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40270" y="1499624"/>
            <a:ext cx="230400" cy="230400"/>
          </a:xfrm>
          <a:prstGeom prst="rect">
            <a:avLst/>
          </a:prstGeom>
        </p:spPr>
      </p:pic>
      <p:sp>
        <p:nvSpPr>
          <p:cNvPr id="72" name="Rechteck 71">
            <a:extLst>
              <a:ext uri="{FF2B5EF4-FFF2-40B4-BE49-F238E27FC236}">
                <a16:creationId xmlns:a16="http://schemas.microsoft.com/office/drawing/2014/main" id="{C6E96EE1-ADBF-40CF-143A-463DD24607CE}"/>
              </a:ext>
            </a:extLst>
          </p:cNvPr>
          <p:cNvSpPr/>
          <p:nvPr/>
        </p:nvSpPr>
        <p:spPr>
          <a:xfrm>
            <a:off x="2593708" y="1449070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0193321-5A6D-C8CD-2065-B383E036E57C}"/>
              </a:ext>
            </a:extLst>
          </p:cNvPr>
          <p:cNvSpPr txBox="1"/>
          <p:nvPr/>
        </p:nvSpPr>
        <p:spPr>
          <a:xfrm>
            <a:off x="2747054" y="1777779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9FD8C0E6-C798-84D4-630B-AC78EDA37461}"/>
              </a:ext>
            </a:extLst>
          </p:cNvPr>
          <p:cNvSpPr/>
          <p:nvPr/>
        </p:nvSpPr>
        <p:spPr>
          <a:xfrm>
            <a:off x="4884289" y="976323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FD6727D-E575-8DC0-B7B0-D3C7D50B9079}"/>
              </a:ext>
            </a:extLst>
          </p:cNvPr>
          <p:cNvSpPr txBox="1"/>
          <p:nvPr/>
        </p:nvSpPr>
        <p:spPr>
          <a:xfrm>
            <a:off x="4685646" y="882034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3A214570-345D-E206-FF80-82BB602EED66}"/>
              </a:ext>
            </a:extLst>
          </p:cNvPr>
          <p:cNvSpPr txBox="1"/>
          <p:nvPr/>
        </p:nvSpPr>
        <p:spPr>
          <a:xfrm>
            <a:off x="7762298" y="934897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2144E4B8-1E3D-9440-3B53-3DA9A1DAC0A2}"/>
              </a:ext>
            </a:extLst>
          </p:cNvPr>
          <p:cNvCxnSpPr>
            <a:cxnSpLocks/>
          </p:cNvCxnSpPr>
          <p:nvPr/>
        </p:nvCxnSpPr>
        <p:spPr>
          <a:xfrm flipH="1">
            <a:off x="7546982" y="1044528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0" name="Rechteck: obere Ecken abgeschnitten 69">
            <a:extLst>
              <a:ext uri="{FF2B5EF4-FFF2-40B4-BE49-F238E27FC236}">
                <a16:creationId xmlns:a16="http://schemas.microsoft.com/office/drawing/2014/main" id="{D707C8A2-E5AF-C444-DFF7-96633EC5FF39}"/>
              </a:ext>
            </a:extLst>
          </p:cNvPr>
          <p:cNvSpPr/>
          <p:nvPr/>
        </p:nvSpPr>
        <p:spPr>
          <a:xfrm>
            <a:off x="1302678" y="3384235"/>
            <a:ext cx="9412824" cy="1871361"/>
          </a:xfrm>
          <a:prstGeom prst="snip2SameRect">
            <a:avLst>
              <a:gd name="adj1" fmla="val 0"/>
              <a:gd name="adj2" fmla="val 0"/>
            </a:avLst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8" name="Rechteck: obere Ecken abgeschnitten 77">
            <a:extLst>
              <a:ext uri="{FF2B5EF4-FFF2-40B4-BE49-F238E27FC236}">
                <a16:creationId xmlns:a16="http://schemas.microsoft.com/office/drawing/2014/main" id="{250D2CB9-7167-4C64-61D7-D553CDBB816E}"/>
              </a:ext>
            </a:extLst>
          </p:cNvPr>
          <p:cNvSpPr/>
          <p:nvPr/>
        </p:nvSpPr>
        <p:spPr>
          <a:xfrm>
            <a:off x="3541591" y="3382309"/>
            <a:ext cx="7288376" cy="1864283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9" name="Grafik 78" descr="Roboterhand Silhouette">
            <a:extLst>
              <a:ext uri="{FF2B5EF4-FFF2-40B4-BE49-F238E27FC236}">
                <a16:creationId xmlns:a16="http://schemas.microsoft.com/office/drawing/2014/main" id="{F1D99EA1-CED3-4094-2A09-7856873756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57466" y="4231821"/>
            <a:ext cx="363133" cy="363133"/>
          </a:xfrm>
          <a:prstGeom prst="rect">
            <a:avLst/>
          </a:prstGeom>
        </p:spPr>
      </p:pic>
      <p:sp>
        <p:nvSpPr>
          <p:cNvPr id="80" name="Pfeil: nach rechts 79">
            <a:extLst>
              <a:ext uri="{FF2B5EF4-FFF2-40B4-BE49-F238E27FC236}">
                <a16:creationId xmlns:a16="http://schemas.microsoft.com/office/drawing/2014/main" id="{AFCDC598-2DB5-48EE-9C7B-6EDDF896A5C0}"/>
              </a:ext>
            </a:extLst>
          </p:cNvPr>
          <p:cNvSpPr/>
          <p:nvPr/>
        </p:nvSpPr>
        <p:spPr>
          <a:xfrm>
            <a:off x="4881178" y="4488076"/>
            <a:ext cx="2536273" cy="272375"/>
          </a:xfrm>
          <a:prstGeom prst="rightArrow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duction Line 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169C7597-960C-E55E-C30E-7FD5D5F8311D}"/>
              </a:ext>
            </a:extLst>
          </p:cNvPr>
          <p:cNvSpPr txBox="1"/>
          <p:nvPr/>
        </p:nvSpPr>
        <p:spPr>
          <a:xfrm>
            <a:off x="5329100" y="3460048"/>
            <a:ext cx="1085782" cy="3693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Short Term Material Demand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864EF253-75CC-8FC4-D79B-266C6B7739E8}"/>
              </a:ext>
            </a:extLst>
          </p:cNvPr>
          <p:cNvSpPr/>
          <p:nvPr/>
        </p:nvSpPr>
        <p:spPr>
          <a:xfrm>
            <a:off x="3845645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C9C64DB7-84B8-5D44-9F9B-CF6B8AF8F5CC}"/>
              </a:ext>
            </a:extLst>
          </p:cNvPr>
          <p:cNvSpPr/>
          <p:nvPr/>
        </p:nvSpPr>
        <p:spPr>
          <a:xfrm>
            <a:off x="384564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61FA6AF8-EF85-C3A5-E252-3DCF465D8758}"/>
              </a:ext>
            </a:extLst>
          </p:cNvPr>
          <p:cNvSpPr/>
          <p:nvPr/>
        </p:nvSpPr>
        <p:spPr>
          <a:xfrm>
            <a:off x="3905025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7223DD08-64EF-B12F-6140-EAF1062355CB}"/>
              </a:ext>
            </a:extLst>
          </p:cNvPr>
          <p:cNvCxnSpPr/>
          <p:nvPr/>
        </p:nvCxnSpPr>
        <p:spPr>
          <a:xfrm>
            <a:off x="3845645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1" name="Rechteck 90">
            <a:extLst>
              <a:ext uri="{FF2B5EF4-FFF2-40B4-BE49-F238E27FC236}">
                <a16:creationId xmlns:a16="http://schemas.microsoft.com/office/drawing/2014/main" id="{C1C0D1EF-9692-B7EA-8F1E-5417382949BE}"/>
              </a:ext>
            </a:extLst>
          </p:cNvPr>
          <p:cNvSpPr/>
          <p:nvPr/>
        </p:nvSpPr>
        <p:spPr>
          <a:xfrm>
            <a:off x="3964379" y="4288364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1333FD62-0BCC-2A14-4603-826C45ED729F}"/>
              </a:ext>
            </a:extLst>
          </p:cNvPr>
          <p:cNvSpPr/>
          <p:nvPr/>
        </p:nvSpPr>
        <p:spPr>
          <a:xfrm>
            <a:off x="396437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FCE27962-4EBA-682F-01AE-1636EBB6E0EA}"/>
              </a:ext>
            </a:extLst>
          </p:cNvPr>
          <p:cNvSpPr/>
          <p:nvPr/>
        </p:nvSpPr>
        <p:spPr>
          <a:xfrm>
            <a:off x="4023759" y="4374374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DE56612D-0DD4-2FAC-1A88-B8BE11AA95DA}"/>
              </a:ext>
            </a:extLst>
          </p:cNvPr>
          <p:cNvCxnSpPr/>
          <p:nvPr/>
        </p:nvCxnSpPr>
        <p:spPr>
          <a:xfrm>
            <a:off x="3964379" y="4372307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92E5A65E-576D-02CD-560B-33DF510E6689}"/>
              </a:ext>
            </a:extLst>
          </p:cNvPr>
          <p:cNvSpPr/>
          <p:nvPr/>
        </p:nvSpPr>
        <p:spPr>
          <a:xfrm>
            <a:off x="3724493" y="4285470"/>
            <a:ext cx="78357" cy="81389"/>
          </a:xfrm>
          <a:prstGeom prst="rect">
            <a:avLst/>
          </a:prstGeom>
          <a:solidFill>
            <a:srgbClr val="15608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76C14D3-95AB-03DC-04B2-FE5965BAA230}"/>
              </a:ext>
            </a:extLst>
          </p:cNvPr>
          <p:cNvSpPr/>
          <p:nvPr/>
        </p:nvSpPr>
        <p:spPr>
          <a:xfrm>
            <a:off x="372449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8309806-BE7E-7D9F-26AE-864D9D2229D7}"/>
              </a:ext>
            </a:extLst>
          </p:cNvPr>
          <p:cNvSpPr/>
          <p:nvPr/>
        </p:nvSpPr>
        <p:spPr>
          <a:xfrm>
            <a:off x="3783873" y="4371480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53B25772-9AC9-6531-B466-63ABD19954FF}"/>
              </a:ext>
            </a:extLst>
          </p:cNvPr>
          <p:cNvCxnSpPr/>
          <p:nvPr/>
        </p:nvCxnSpPr>
        <p:spPr>
          <a:xfrm>
            <a:off x="3724493" y="4369413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F7D60329-847B-8CEA-03B4-ECE82BA3EC1C}"/>
              </a:ext>
            </a:extLst>
          </p:cNvPr>
          <p:cNvCxnSpPr/>
          <p:nvPr/>
        </p:nvCxnSpPr>
        <p:spPr>
          <a:xfrm>
            <a:off x="3700156" y="4418877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0" name="Textfeld 99">
            <a:extLst>
              <a:ext uri="{FF2B5EF4-FFF2-40B4-BE49-F238E27FC236}">
                <a16:creationId xmlns:a16="http://schemas.microsoft.com/office/drawing/2014/main" id="{445C8737-6378-3CC9-83FA-9D62B585FBAC}"/>
              </a:ext>
            </a:extLst>
          </p:cNvPr>
          <p:cNvSpPr txBox="1"/>
          <p:nvPr/>
        </p:nvSpPr>
        <p:spPr>
          <a:xfrm>
            <a:off x="3557523" y="4410874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1 &amp; S2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53B98DB0-FC09-68F8-FECE-59D369E123B5}"/>
              </a:ext>
            </a:extLst>
          </p:cNvPr>
          <p:cNvSpPr/>
          <p:nvPr/>
        </p:nvSpPr>
        <p:spPr>
          <a:xfrm>
            <a:off x="3846096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E522D587-DB68-796E-7C8F-06266567ACE0}"/>
              </a:ext>
            </a:extLst>
          </p:cNvPr>
          <p:cNvSpPr/>
          <p:nvPr/>
        </p:nvSpPr>
        <p:spPr>
          <a:xfrm>
            <a:off x="384609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133F2539-02AF-9C18-9D0D-0747C540B2E8}"/>
              </a:ext>
            </a:extLst>
          </p:cNvPr>
          <p:cNvSpPr/>
          <p:nvPr/>
        </p:nvSpPr>
        <p:spPr>
          <a:xfrm>
            <a:off x="3905476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99FD7C21-610D-C8F9-DC12-C7C41472D810}"/>
              </a:ext>
            </a:extLst>
          </p:cNvPr>
          <p:cNvCxnSpPr/>
          <p:nvPr/>
        </p:nvCxnSpPr>
        <p:spPr>
          <a:xfrm>
            <a:off x="3846096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5" name="Rechteck 114">
            <a:extLst>
              <a:ext uri="{FF2B5EF4-FFF2-40B4-BE49-F238E27FC236}">
                <a16:creationId xmlns:a16="http://schemas.microsoft.com/office/drawing/2014/main" id="{48E9EDBD-D8D5-273A-64D7-8A6F9D67B76D}"/>
              </a:ext>
            </a:extLst>
          </p:cNvPr>
          <p:cNvSpPr/>
          <p:nvPr/>
        </p:nvSpPr>
        <p:spPr>
          <a:xfrm>
            <a:off x="3964830" y="4862206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C76DA15-B62F-CA4D-407B-922CA6C44DC0}"/>
              </a:ext>
            </a:extLst>
          </p:cNvPr>
          <p:cNvSpPr/>
          <p:nvPr/>
        </p:nvSpPr>
        <p:spPr>
          <a:xfrm>
            <a:off x="396483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9EC8A230-13FC-41C2-494A-6B1681390A79}"/>
              </a:ext>
            </a:extLst>
          </p:cNvPr>
          <p:cNvSpPr/>
          <p:nvPr/>
        </p:nvSpPr>
        <p:spPr>
          <a:xfrm>
            <a:off x="4024210" y="4948216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C25FEEBB-D52D-AA72-1E58-7C53863C6968}"/>
              </a:ext>
            </a:extLst>
          </p:cNvPr>
          <p:cNvCxnSpPr/>
          <p:nvPr/>
        </p:nvCxnSpPr>
        <p:spPr>
          <a:xfrm>
            <a:off x="3964830" y="4946149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19" name="Rechteck 118">
            <a:extLst>
              <a:ext uri="{FF2B5EF4-FFF2-40B4-BE49-F238E27FC236}">
                <a16:creationId xmlns:a16="http://schemas.microsoft.com/office/drawing/2014/main" id="{1AABC79A-8F42-360E-5133-2A91261452BC}"/>
              </a:ext>
            </a:extLst>
          </p:cNvPr>
          <p:cNvSpPr/>
          <p:nvPr/>
        </p:nvSpPr>
        <p:spPr>
          <a:xfrm>
            <a:off x="3724944" y="4859312"/>
            <a:ext cx="78357" cy="81389"/>
          </a:xfrm>
          <a:prstGeom prst="rect">
            <a:avLst/>
          </a:prstGeom>
          <a:solidFill>
            <a:srgbClr val="A02B9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86060D2-C06A-48B8-42C4-C012F3021271}"/>
              </a:ext>
            </a:extLst>
          </p:cNvPr>
          <p:cNvSpPr/>
          <p:nvPr/>
        </p:nvSpPr>
        <p:spPr>
          <a:xfrm>
            <a:off x="372494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7100E730-A560-173B-8337-2EE8412745E0}"/>
              </a:ext>
            </a:extLst>
          </p:cNvPr>
          <p:cNvSpPr/>
          <p:nvPr/>
        </p:nvSpPr>
        <p:spPr>
          <a:xfrm>
            <a:off x="3784324" y="4945322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00D04641-9441-E07E-5F12-1EFCCB5A7CDE}"/>
              </a:ext>
            </a:extLst>
          </p:cNvPr>
          <p:cNvCxnSpPr/>
          <p:nvPr/>
        </p:nvCxnSpPr>
        <p:spPr>
          <a:xfrm>
            <a:off x="3724944" y="4943255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D295AB6C-4E8C-F869-7B07-1B2CE94178DC}"/>
              </a:ext>
            </a:extLst>
          </p:cNvPr>
          <p:cNvCxnSpPr/>
          <p:nvPr/>
        </p:nvCxnSpPr>
        <p:spPr>
          <a:xfrm>
            <a:off x="3700607" y="4992719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24" name="Textfeld 123">
            <a:extLst>
              <a:ext uri="{FF2B5EF4-FFF2-40B4-BE49-F238E27FC236}">
                <a16:creationId xmlns:a16="http://schemas.microsoft.com/office/drawing/2014/main" id="{D9A9081C-5FC5-B773-365C-2AABD9076EA0}"/>
              </a:ext>
            </a:extLst>
          </p:cNvPr>
          <p:cNvSpPr txBox="1"/>
          <p:nvPr/>
        </p:nvSpPr>
        <p:spPr>
          <a:xfrm>
            <a:off x="3557974" y="4984716"/>
            <a:ext cx="936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latin typeface="Aptos" panose="02110004020202020204"/>
              </a:rPr>
              <a:t>Item Stock [S3]</a:t>
            </a:r>
            <a:endParaRPr lang="de-DE" dirty="0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125" name="Grafik 124" descr="Datenbank Silhouette">
            <a:extLst>
              <a:ext uri="{FF2B5EF4-FFF2-40B4-BE49-F238E27FC236}">
                <a16:creationId xmlns:a16="http://schemas.microsoft.com/office/drawing/2014/main" id="{72692282-FA9C-2BAE-2096-9F92742473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1074" y="3611394"/>
            <a:ext cx="433992" cy="433992"/>
          </a:xfrm>
          <a:prstGeom prst="rect">
            <a:avLst/>
          </a:prstGeom>
        </p:spPr>
      </p:pic>
      <p:pic>
        <p:nvPicPr>
          <p:cNvPr id="126" name="Grafik 125" descr="Computer Silhouette">
            <a:extLst>
              <a:ext uri="{FF2B5EF4-FFF2-40B4-BE49-F238E27FC236}">
                <a16:creationId xmlns:a16="http://schemas.microsoft.com/office/drawing/2014/main" id="{F66F48DA-3B57-4F2B-876A-4392035FCC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67494" y="3580865"/>
            <a:ext cx="531660" cy="531660"/>
          </a:xfrm>
          <a:prstGeom prst="rect">
            <a:avLst/>
          </a:prstGeom>
        </p:spPr>
      </p:pic>
      <p:graphicFrame>
        <p:nvGraphicFramePr>
          <p:cNvPr id="127" name="Tabelle 126">
            <a:extLst>
              <a:ext uri="{FF2B5EF4-FFF2-40B4-BE49-F238E27FC236}">
                <a16:creationId xmlns:a16="http://schemas.microsoft.com/office/drawing/2014/main" id="{44590451-CADA-C419-C693-36B309EF1A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1209924"/>
              </p:ext>
            </p:extLst>
          </p:nvPr>
        </p:nvGraphicFramePr>
        <p:xfrm>
          <a:off x="7943299" y="4014892"/>
          <a:ext cx="2809479" cy="1140390"/>
        </p:xfrm>
        <a:graphic>
          <a:graphicData uri="http://schemas.openxmlformats.org/drawingml/2006/table">
            <a:tbl>
              <a:tblPr firstRow="1" bandRow="1"/>
              <a:tblGrid>
                <a:gridCol w="936493">
                  <a:extLst>
                    <a:ext uri="{9D8B030D-6E8A-4147-A177-3AD203B41FA5}">
                      <a16:colId xmlns:a16="http://schemas.microsoft.com/office/drawing/2014/main" val="1951790159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3410560007"/>
                    </a:ext>
                  </a:extLst>
                </a:gridCol>
                <a:gridCol w="936493">
                  <a:extLst>
                    <a:ext uri="{9D8B030D-6E8A-4147-A177-3AD203B41FA5}">
                      <a16:colId xmlns:a16="http://schemas.microsoft.com/office/drawing/2014/main" val="481317522"/>
                    </a:ext>
                  </a:extLst>
                </a:gridCol>
              </a:tblGrid>
              <a:tr h="2807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upplie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Short Term Material Deman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Item Stock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839567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3219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>
                          <a:highlight>
                            <a:srgbClr val="FFFF00"/>
                          </a:highlight>
                        </a:rPr>
                        <a:t>Not </a:t>
                      </a:r>
                      <a:r>
                        <a:rPr lang="de-DE" sz="800" dirty="0" err="1">
                          <a:highlight>
                            <a:srgbClr val="FFFF00"/>
                          </a:highlight>
                        </a:rPr>
                        <a:t>specific</a:t>
                      </a:r>
                      <a:endParaRPr lang="de-DE" sz="800" dirty="0">
                        <a:highlight>
                          <a:srgbClr val="FFFF00"/>
                        </a:highlight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1201"/>
                  </a:ext>
                </a:extLst>
              </a:tr>
              <a:tr h="227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/>
                        <a:t>3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ptos" panose="02110004020202020204"/>
                        </a:defRPr>
                      </a:lvl9pPr>
                    </a:lstStyle>
                    <a:p>
                      <a:r>
                        <a:rPr lang="de-DE" sz="800" dirty="0" err="1"/>
                        <a:t>specific</a:t>
                      </a:r>
                      <a:endParaRPr lang="de-DE" sz="8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56082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559745"/>
                  </a:ext>
                </a:extLst>
              </a:tr>
            </a:tbl>
          </a:graphicData>
        </a:graphic>
      </p:graphicFrame>
      <p:pic>
        <p:nvPicPr>
          <p:cNvPr id="128" name="Grafik 127" descr="Cmd (Terminal) Silhouette">
            <a:extLst>
              <a:ext uri="{FF2B5EF4-FFF2-40B4-BE49-F238E27FC236}">
                <a16:creationId xmlns:a16="http://schemas.microsoft.com/office/drawing/2014/main" id="{A0697661-F013-07E3-DDFC-6DDFBD887F4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24471" y="3888566"/>
            <a:ext cx="193532" cy="193532"/>
          </a:xfrm>
          <a:prstGeom prst="rect">
            <a:avLst/>
          </a:prstGeom>
        </p:spPr>
      </p:pic>
      <p:pic>
        <p:nvPicPr>
          <p:cNvPr id="129" name="Grafik 128" descr="Schraubenschlüssel Silhouette">
            <a:extLst>
              <a:ext uri="{FF2B5EF4-FFF2-40B4-BE49-F238E27FC236}">
                <a16:creationId xmlns:a16="http://schemas.microsoft.com/office/drawing/2014/main" id="{03CD8B4E-2AD0-6F55-53D5-8AD630AFD84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37991" y="4469887"/>
            <a:ext cx="230400" cy="230400"/>
          </a:xfrm>
          <a:prstGeom prst="rect">
            <a:avLst/>
          </a:prstGeom>
        </p:spPr>
      </p:pic>
      <p:pic>
        <p:nvPicPr>
          <p:cNvPr id="130" name="Grafik 129" descr="Schraubenzieher Silhouette">
            <a:extLst>
              <a:ext uri="{FF2B5EF4-FFF2-40B4-BE49-F238E27FC236}">
                <a16:creationId xmlns:a16="http://schemas.microsoft.com/office/drawing/2014/main" id="{D103B473-AC22-A58A-813B-9F5CD06B99C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37991" y="4829343"/>
            <a:ext cx="230400" cy="230400"/>
          </a:xfrm>
          <a:prstGeom prst="rect">
            <a:avLst/>
          </a:prstGeom>
        </p:spPr>
      </p:pic>
      <p:sp>
        <p:nvSpPr>
          <p:cNvPr id="131" name="Textfeld 130">
            <a:extLst>
              <a:ext uri="{FF2B5EF4-FFF2-40B4-BE49-F238E27FC236}">
                <a16:creationId xmlns:a16="http://schemas.microsoft.com/office/drawing/2014/main" id="{BA129521-AA6B-912D-5151-DE3A44BB3577}"/>
              </a:ext>
            </a:extLst>
          </p:cNvPr>
          <p:cNvSpPr txBox="1"/>
          <p:nvPr/>
        </p:nvSpPr>
        <p:spPr>
          <a:xfrm>
            <a:off x="2567806" y="3810955"/>
            <a:ext cx="512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  <a:latin typeface="Aptos" panose="02110004020202020204"/>
              </a:rPr>
              <a:t>Item</a:t>
            </a:r>
          </a:p>
        </p:txBody>
      </p:sp>
      <p:pic>
        <p:nvPicPr>
          <p:cNvPr id="132" name="Grafik 131" descr="Cmd (Terminal) Silhouette">
            <a:extLst>
              <a:ext uri="{FF2B5EF4-FFF2-40B4-BE49-F238E27FC236}">
                <a16:creationId xmlns:a16="http://schemas.microsoft.com/office/drawing/2014/main" id="{66A1188A-4F2E-E737-E682-3F67E31A13D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34081" y="4331885"/>
            <a:ext cx="193532" cy="193532"/>
          </a:xfrm>
          <a:prstGeom prst="rect">
            <a:avLst/>
          </a:prstGeom>
        </p:spPr>
      </p:pic>
      <p:pic>
        <p:nvPicPr>
          <p:cNvPr id="134" name="Grafik 133" descr="Cmd (Terminal) Silhouette">
            <a:extLst>
              <a:ext uri="{FF2B5EF4-FFF2-40B4-BE49-F238E27FC236}">
                <a16:creationId xmlns:a16="http://schemas.microsoft.com/office/drawing/2014/main" id="{1EF3286B-E8D1-8603-D0B4-B41D9A9AD2B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87951" y="4735292"/>
            <a:ext cx="193532" cy="193532"/>
          </a:xfrm>
          <a:prstGeom prst="rect">
            <a:avLst/>
          </a:prstGeom>
        </p:spPr>
      </p:pic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437DFAA7-1054-884C-82FF-FF2E8E84D22E}"/>
              </a:ext>
            </a:extLst>
          </p:cNvPr>
          <p:cNvCxnSpPr>
            <a:cxnSpLocks/>
          </p:cNvCxnSpPr>
          <p:nvPr/>
        </p:nvCxnSpPr>
        <p:spPr>
          <a:xfrm flipH="1">
            <a:off x="6414882" y="363969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BCD49615-A0BA-4655-A8D2-5C1E136FCE47}"/>
              </a:ext>
            </a:extLst>
          </p:cNvPr>
          <p:cNvCxnSpPr>
            <a:cxnSpLocks/>
          </p:cNvCxnSpPr>
          <p:nvPr/>
        </p:nvCxnSpPr>
        <p:spPr>
          <a:xfrm>
            <a:off x="3307428" y="4231821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8" name="Textfeld 137">
            <a:extLst>
              <a:ext uri="{FF2B5EF4-FFF2-40B4-BE49-F238E27FC236}">
                <a16:creationId xmlns:a16="http://schemas.microsoft.com/office/drawing/2014/main" id="{554F1696-6563-AED1-D732-BD9771A89986}"/>
              </a:ext>
            </a:extLst>
          </p:cNvPr>
          <p:cNvSpPr txBox="1"/>
          <p:nvPr/>
        </p:nvSpPr>
        <p:spPr>
          <a:xfrm>
            <a:off x="3405166" y="3810955"/>
            <a:ext cx="12659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b="1" dirty="0" err="1">
                <a:solidFill>
                  <a:prstClr val="black"/>
                </a:solidFill>
                <a:latin typeface="Aptos" panose="02110004020202020204"/>
              </a:rPr>
              <a:t>Physical</a:t>
            </a:r>
            <a:r>
              <a:rPr lang="de-DE" sz="900" b="1" dirty="0">
                <a:solidFill>
                  <a:prstClr val="black"/>
                </a:solidFill>
                <a:latin typeface="Aptos" panose="02110004020202020204"/>
              </a:rPr>
              <a:t> Storage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76E394DA-F278-1660-3462-7A79D1C2FAAD}"/>
              </a:ext>
            </a:extLst>
          </p:cNvPr>
          <p:cNvSpPr txBox="1"/>
          <p:nvPr/>
        </p:nvSpPr>
        <p:spPr>
          <a:xfrm>
            <a:off x="1781807" y="4073435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1 (S1)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707A5023-144B-F6B8-072F-63C87F9A7794}"/>
              </a:ext>
            </a:extLst>
          </p:cNvPr>
          <p:cNvSpPr txBox="1"/>
          <p:nvPr/>
        </p:nvSpPr>
        <p:spPr>
          <a:xfrm>
            <a:off x="1585350" y="4488361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2 (S2)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B4B41388-BEED-669E-328C-01188CB12C4D}"/>
              </a:ext>
            </a:extLst>
          </p:cNvPr>
          <p:cNvSpPr txBox="1"/>
          <p:nvPr/>
        </p:nvSpPr>
        <p:spPr>
          <a:xfrm>
            <a:off x="1330719" y="4874067"/>
            <a:ext cx="13847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>
                <a:solidFill>
                  <a:schemeClr val="bg1"/>
                </a:solidFill>
                <a:latin typeface="Aptos" panose="02110004020202020204"/>
              </a:rPr>
              <a:t>Supplier 3 (S3)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40F51272-C1C2-529A-850B-72419A2EEA79}"/>
              </a:ext>
            </a:extLst>
          </p:cNvPr>
          <p:cNvSpPr txBox="1"/>
          <p:nvPr/>
        </p:nvSpPr>
        <p:spPr>
          <a:xfrm>
            <a:off x="9783335" y="3754143"/>
            <a:ext cx="441631" cy="2626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Manrope Light" pitchFamily="2" charset="0"/>
                <a:cs typeface="Arial" panose="020B0604020202020204" pitchFamily="34" charset="0"/>
              </a:rPr>
              <a:t>Data</a:t>
            </a:r>
            <a:endParaRPr lang="de-DE" dirty="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0BAD1C91-F230-4F9B-D9FD-38B3AD1E613D}"/>
              </a:ext>
            </a:extLst>
          </p:cNvPr>
          <p:cNvSpPr txBox="1"/>
          <p:nvPr/>
        </p:nvSpPr>
        <p:spPr>
          <a:xfrm>
            <a:off x="4038720" y="5315782"/>
            <a:ext cx="2195385" cy="40011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Physical</a:t>
            </a:r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a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torage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C0F7D650-659E-5CD5-86EF-B5FF953E7F4F}"/>
              </a:ext>
            </a:extLst>
          </p:cNvPr>
          <p:cNvSpPr txBox="1"/>
          <p:nvPr/>
        </p:nvSpPr>
        <p:spPr>
          <a:xfrm>
            <a:off x="8372100" y="5291134"/>
            <a:ext cx="2457868" cy="553998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  <a:latin typeface="Aptos" panose="02110004020202020204"/>
              </a:rPr>
              <a:t>Data </a:t>
            </a:r>
            <a:r>
              <a:rPr lang="de-DE" sz="1000" b="1" dirty="0" err="1">
                <a:solidFill>
                  <a:schemeClr val="bg1"/>
                </a:solidFill>
                <a:latin typeface="Aptos" panose="02110004020202020204"/>
              </a:rPr>
              <a:t>seperation</a:t>
            </a:r>
            <a:endParaRPr lang="de-DE" sz="1000" b="1" dirty="0">
              <a:solidFill>
                <a:schemeClr val="bg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Short Term Material Demand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bg1"/>
                </a:solidFill>
                <a:latin typeface="Aptos" panose="02110004020202020204"/>
              </a:rPr>
              <a:t>Item Stock: </a:t>
            </a:r>
            <a:r>
              <a:rPr lang="de-DE" sz="1000" dirty="0" err="1">
                <a:solidFill>
                  <a:schemeClr val="accent1"/>
                </a:solidFill>
                <a:latin typeface="Aptos" panose="02110004020202020204"/>
              </a:rPr>
              <a:t>no</a:t>
            </a: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7E33003-0F3E-7F18-0C61-80D417528E14}"/>
              </a:ext>
            </a:extLst>
          </p:cNvPr>
          <p:cNvSpPr/>
          <p:nvPr/>
        </p:nvSpPr>
        <p:spPr>
          <a:xfrm>
            <a:off x="3541591" y="5266100"/>
            <a:ext cx="7288376" cy="64821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147" name="Verbinder: gewinkelt 146">
            <a:extLst>
              <a:ext uri="{FF2B5EF4-FFF2-40B4-BE49-F238E27FC236}">
                <a16:creationId xmlns:a16="http://schemas.microsoft.com/office/drawing/2014/main" id="{3CE1CA1D-9AC5-921E-8D10-08B8F4E9FBDD}"/>
              </a:ext>
            </a:extLst>
          </p:cNvPr>
          <p:cNvCxnSpPr>
            <a:cxnSpLocks/>
          </p:cNvCxnSpPr>
          <p:nvPr/>
        </p:nvCxnSpPr>
        <p:spPr>
          <a:xfrm flipV="1">
            <a:off x="4538643" y="4733291"/>
            <a:ext cx="386913" cy="251379"/>
          </a:xfrm>
          <a:prstGeom prst="bentConnector3">
            <a:avLst>
              <a:gd name="adj1" fmla="val 99236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8" name="Verbinder: gewinkelt 147">
            <a:extLst>
              <a:ext uri="{FF2B5EF4-FFF2-40B4-BE49-F238E27FC236}">
                <a16:creationId xmlns:a16="http://schemas.microsoft.com/office/drawing/2014/main" id="{5D144C72-3353-E8A4-C857-44EE9313805C}"/>
              </a:ext>
            </a:extLst>
          </p:cNvPr>
          <p:cNvCxnSpPr>
            <a:cxnSpLocks/>
          </p:cNvCxnSpPr>
          <p:nvPr/>
        </p:nvCxnSpPr>
        <p:spPr>
          <a:xfrm>
            <a:off x="4568825" y="4410075"/>
            <a:ext cx="343772" cy="123825"/>
          </a:xfrm>
          <a:prstGeom prst="bentConnector3">
            <a:avLst>
              <a:gd name="adj1" fmla="val 99873"/>
            </a:avLst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A918625A-9A8C-64AA-5AF4-044F3E711528}"/>
              </a:ext>
            </a:extLst>
          </p:cNvPr>
          <p:cNvSpPr/>
          <p:nvPr/>
        </p:nvSpPr>
        <p:spPr>
          <a:xfrm>
            <a:off x="6612711" y="3452224"/>
            <a:ext cx="869919" cy="3849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duction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pic>
        <p:nvPicPr>
          <p:cNvPr id="150" name="Grafik 149" descr="LKW Silhouette">
            <a:extLst>
              <a:ext uri="{FF2B5EF4-FFF2-40B4-BE49-F238E27FC236}">
                <a16:creationId xmlns:a16="http://schemas.microsoft.com/office/drawing/2014/main" id="{F59C80A9-A26C-2968-D5D2-07C2B6339A7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4549" y="4053268"/>
            <a:ext cx="317500" cy="317500"/>
          </a:xfrm>
          <a:prstGeom prst="rect">
            <a:avLst/>
          </a:prstGeom>
        </p:spPr>
      </p:pic>
      <p:pic>
        <p:nvPicPr>
          <p:cNvPr id="151" name="Grafik 150" descr="LKW Silhouette">
            <a:extLst>
              <a:ext uri="{FF2B5EF4-FFF2-40B4-BE49-F238E27FC236}">
                <a16:creationId xmlns:a16="http://schemas.microsoft.com/office/drawing/2014/main" id="{5218E1CA-E87F-D6F2-F913-7D1D3DEAAA5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6120" y="4442951"/>
            <a:ext cx="317500" cy="317500"/>
          </a:xfrm>
          <a:prstGeom prst="rect">
            <a:avLst/>
          </a:prstGeom>
        </p:spPr>
      </p:pic>
      <p:pic>
        <p:nvPicPr>
          <p:cNvPr id="152" name="Grafik 151" descr="LKW Silhouette">
            <a:extLst>
              <a:ext uri="{FF2B5EF4-FFF2-40B4-BE49-F238E27FC236}">
                <a16:creationId xmlns:a16="http://schemas.microsoft.com/office/drawing/2014/main" id="{9C7A3BD4-49CD-3072-334B-2B1C97B2869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58631" y="4797084"/>
            <a:ext cx="317500" cy="317500"/>
          </a:xfrm>
          <a:prstGeom prst="rect">
            <a:avLst/>
          </a:prstGeom>
        </p:spPr>
      </p:pic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6892063D-ADF8-7711-DC23-2451D4850034}"/>
              </a:ext>
            </a:extLst>
          </p:cNvPr>
          <p:cNvCxnSpPr>
            <a:cxnSpLocks/>
          </p:cNvCxnSpPr>
          <p:nvPr/>
        </p:nvCxnSpPr>
        <p:spPr>
          <a:xfrm>
            <a:off x="3304290" y="4618130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B49989C7-C6E5-143A-F92C-76FE7163EF2D}"/>
              </a:ext>
            </a:extLst>
          </p:cNvPr>
          <p:cNvCxnSpPr>
            <a:cxnSpLocks/>
          </p:cNvCxnSpPr>
          <p:nvPr/>
        </p:nvCxnSpPr>
        <p:spPr>
          <a:xfrm>
            <a:off x="3307427" y="4984716"/>
            <a:ext cx="1954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F099C287-CFD1-695E-2442-FB85D5784476}"/>
              </a:ext>
            </a:extLst>
          </p:cNvPr>
          <p:cNvCxnSpPr>
            <a:cxnSpLocks/>
            <a:stCxn id="161" idx="1"/>
            <a:endCxn id="128" idx="0"/>
          </p:cNvCxnSpPr>
          <p:nvPr/>
        </p:nvCxnSpPr>
        <p:spPr>
          <a:xfrm rot="10800000" flipV="1">
            <a:off x="1921237" y="3695504"/>
            <a:ext cx="3030356" cy="193061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Verbinder: gewinkelt 155">
            <a:extLst>
              <a:ext uri="{FF2B5EF4-FFF2-40B4-BE49-F238E27FC236}">
                <a16:creationId xmlns:a16="http://schemas.microsoft.com/office/drawing/2014/main" id="{DB803AD7-0E3F-8A42-EB80-2161DDAD5C99}"/>
              </a:ext>
            </a:extLst>
          </p:cNvPr>
          <p:cNvCxnSpPr>
            <a:cxnSpLocks/>
            <a:stCxn id="161" idx="1"/>
            <a:endCxn id="132" idx="0"/>
          </p:cNvCxnSpPr>
          <p:nvPr/>
        </p:nvCxnSpPr>
        <p:spPr>
          <a:xfrm rot="10800000" flipV="1">
            <a:off x="1730847" y="3695505"/>
            <a:ext cx="3220746" cy="636380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Verbinder: gewinkelt 156">
            <a:extLst>
              <a:ext uri="{FF2B5EF4-FFF2-40B4-BE49-F238E27FC236}">
                <a16:creationId xmlns:a16="http://schemas.microsoft.com/office/drawing/2014/main" id="{D097D28E-D047-04D4-5871-8D65A9E71511}"/>
              </a:ext>
            </a:extLst>
          </p:cNvPr>
          <p:cNvCxnSpPr>
            <a:cxnSpLocks/>
            <a:stCxn id="159" idx="1"/>
            <a:endCxn id="134" idx="0"/>
          </p:cNvCxnSpPr>
          <p:nvPr/>
        </p:nvCxnSpPr>
        <p:spPr>
          <a:xfrm rot="10800000" flipV="1">
            <a:off x="1484717" y="3484804"/>
            <a:ext cx="3460922" cy="1250488"/>
          </a:xfrm>
          <a:prstGeom prst="bentConnector2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9" name="Grafik 158" descr="Schraubenzieher Silhouette">
            <a:extLst>
              <a:ext uri="{FF2B5EF4-FFF2-40B4-BE49-F238E27FC236}">
                <a16:creationId xmlns:a16="http://schemas.microsoft.com/office/drawing/2014/main" id="{6F59EBE8-742A-1CC7-0DA3-C57BBBCAA5B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945639" y="3412804"/>
            <a:ext cx="144000" cy="144000"/>
          </a:xfrm>
          <a:prstGeom prst="rect">
            <a:avLst/>
          </a:prstGeom>
        </p:spPr>
      </p:pic>
      <p:pic>
        <p:nvPicPr>
          <p:cNvPr id="161" name="Grafik 160" descr="Schraubenschlüssel Silhouette">
            <a:extLst>
              <a:ext uri="{FF2B5EF4-FFF2-40B4-BE49-F238E27FC236}">
                <a16:creationId xmlns:a16="http://schemas.microsoft.com/office/drawing/2014/main" id="{07FA3751-8C79-921D-30BD-3221B16F899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51593" y="3623505"/>
            <a:ext cx="144000" cy="144000"/>
          </a:xfrm>
          <a:prstGeom prst="rect">
            <a:avLst/>
          </a:prstGeom>
        </p:spPr>
      </p:pic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294D4957-D4F2-85EA-4BCA-D1DE6539B600}"/>
              </a:ext>
            </a:extLst>
          </p:cNvPr>
          <p:cNvCxnSpPr>
            <a:cxnSpLocks/>
          </p:cNvCxnSpPr>
          <p:nvPr/>
        </p:nvCxnSpPr>
        <p:spPr>
          <a:xfrm flipH="1">
            <a:off x="5136412" y="3711789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656ACE47-C2B7-7863-3A6F-E848FFA82D3B}"/>
              </a:ext>
            </a:extLst>
          </p:cNvPr>
          <p:cNvCxnSpPr>
            <a:cxnSpLocks/>
          </p:cNvCxnSpPr>
          <p:nvPr/>
        </p:nvCxnSpPr>
        <p:spPr>
          <a:xfrm flipH="1">
            <a:off x="5113697" y="3484914"/>
            <a:ext cx="168198" cy="0"/>
          </a:xfrm>
          <a:prstGeom prst="straightConnector1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Ellipse 169">
            <a:extLst>
              <a:ext uri="{FF2B5EF4-FFF2-40B4-BE49-F238E27FC236}">
                <a16:creationId xmlns:a16="http://schemas.microsoft.com/office/drawing/2014/main" id="{B9FAD727-342C-A95E-1747-453456C809DE}"/>
              </a:ext>
            </a:extLst>
          </p:cNvPr>
          <p:cNvSpPr/>
          <p:nvPr/>
        </p:nvSpPr>
        <p:spPr>
          <a:xfrm>
            <a:off x="1117058" y="3191171"/>
            <a:ext cx="409151" cy="409151"/>
          </a:xfrm>
          <a:prstGeom prst="ellipse">
            <a:avLst/>
          </a:prstGeom>
          <a:solidFill>
            <a:srgbClr val="C00000"/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172" name="Grafik 171" descr="Schraubenschlüssel Silhouette">
            <a:extLst>
              <a:ext uri="{FF2B5EF4-FFF2-40B4-BE49-F238E27FC236}">
                <a16:creationId xmlns:a16="http://schemas.microsoft.com/office/drawing/2014/main" id="{49536E7A-5BE9-CDBD-C5DB-0498EE7073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653229" y="4092341"/>
            <a:ext cx="230400" cy="230400"/>
          </a:xfrm>
          <a:prstGeom prst="rect">
            <a:avLst/>
          </a:prstGeom>
        </p:spPr>
      </p:pic>
      <p:sp>
        <p:nvSpPr>
          <p:cNvPr id="173" name="Rechteck 172">
            <a:extLst>
              <a:ext uri="{FF2B5EF4-FFF2-40B4-BE49-F238E27FC236}">
                <a16:creationId xmlns:a16="http://schemas.microsoft.com/office/drawing/2014/main" id="{A07DD9D8-0B5F-16F8-976A-4898565EC232}"/>
              </a:ext>
            </a:extLst>
          </p:cNvPr>
          <p:cNvSpPr/>
          <p:nvPr/>
        </p:nvSpPr>
        <p:spPr>
          <a:xfrm>
            <a:off x="2606667" y="4041787"/>
            <a:ext cx="347882" cy="691504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4" name="Textfeld 173">
            <a:extLst>
              <a:ext uri="{FF2B5EF4-FFF2-40B4-BE49-F238E27FC236}">
                <a16:creationId xmlns:a16="http://schemas.microsoft.com/office/drawing/2014/main" id="{B6BFBBC5-440A-4202-CB66-DE4776D44B25}"/>
              </a:ext>
            </a:extLst>
          </p:cNvPr>
          <p:cNvSpPr txBox="1"/>
          <p:nvPr/>
        </p:nvSpPr>
        <p:spPr>
          <a:xfrm>
            <a:off x="2760013" y="4370496"/>
            <a:ext cx="404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FFC000"/>
                </a:solidFill>
              </a:rPr>
              <a:t>!</a:t>
            </a:r>
            <a:endParaRPr lang="de-DE" b="1" dirty="0">
              <a:solidFill>
                <a:srgbClr val="FFC000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6816DE4-B83F-1C5D-4173-09CF042B2601}"/>
              </a:ext>
            </a:extLst>
          </p:cNvPr>
          <p:cNvSpPr/>
          <p:nvPr/>
        </p:nvSpPr>
        <p:spPr>
          <a:xfrm>
            <a:off x="4897248" y="3569040"/>
            <a:ext cx="416385" cy="251379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79" name="Textfeld 178">
            <a:extLst>
              <a:ext uri="{FF2B5EF4-FFF2-40B4-BE49-F238E27FC236}">
                <a16:creationId xmlns:a16="http://schemas.microsoft.com/office/drawing/2014/main" id="{0A697E25-C946-8283-5A09-BA11A48C7905}"/>
              </a:ext>
            </a:extLst>
          </p:cNvPr>
          <p:cNvSpPr txBox="1"/>
          <p:nvPr/>
        </p:nvSpPr>
        <p:spPr>
          <a:xfrm>
            <a:off x="4698605" y="3474751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BF4943F0-991D-689C-1E19-252D9F23F759}"/>
              </a:ext>
            </a:extLst>
          </p:cNvPr>
          <p:cNvSpPr txBox="1"/>
          <p:nvPr/>
        </p:nvSpPr>
        <p:spPr>
          <a:xfrm>
            <a:off x="7775257" y="3527614"/>
            <a:ext cx="691979" cy="271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tx2"/>
                </a:solidFill>
                <a:latin typeface="Manrope Light" pitchFamily="2" charset="0"/>
                <a:cs typeface="Arial" panose="020B0604020202020204" pitchFamily="34" charset="0"/>
              </a:rPr>
              <a:t>Start</a:t>
            </a:r>
          </a:p>
        </p:txBody>
      </p: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3D427FAC-55F5-3E62-4B7E-2D7F82F5042D}"/>
              </a:ext>
            </a:extLst>
          </p:cNvPr>
          <p:cNvCxnSpPr>
            <a:cxnSpLocks/>
          </p:cNvCxnSpPr>
          <p:nvPr/>
        </p:nvCxnSpPr>
        <p:spPr>
          <a:xfrm flipH="1">
            <a:off x="7559941" y="3637245"/>
            <a:ext cx="151277" cy="0"/>
          </a:xfrm>
          <a:prstGeom prst="straightConnector1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2" name="Gerader Verbinder 181">
            <a:extLst>
              <a:ext uri="{FF2B5EF4-FFF2-40B4-BE49-F238E27FC236}">
                <a16:creationId xmlns:a16="http://schemas.microsoft.com/office/drawing/2014/main" id="{7742DA61-4FC6-F5EF-22A9-2CA41668A74A}"/>
              </a:ext>
            </a:extLst>
          </p:cNvPr>
          <p:cNvCxnSpPr/>
          <p:nvPr/>
        </p:nvCxnSpPr>
        <p:spPr>
          <a:xfrm>
            <a:off x="3850308" y="6457751"/>
            <a:ext cx="628650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035C2015-0234-C0F4-60F8-36088F7B439E}"/>
              </a:ext>
            </a:extLst>
          </p:cNvPr>
          <p:cNvSpPr/>
          <p:nvPr/>
        </p:nvSpPr>
        <p:spPr>
          <a:xfrm>
            <a:off x="4191010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6426B072-3E92-BC0E-0B47-F0CF17C25EF9}"/>
              </a:ext>
            </a:extLst>
          </p:cNvPr>
          <p:cNvSpPr/>
          <p:nvPr/>
        </p:nvSpPr>
        <p:spPr>
          <a:xfrm>
            <a:off x="419101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8B9526BB-E4A3-22E6-8986-97EA8CFBBEA6}"/>
              </a:ext>
            </a:extLst>
          </p:cNvPr>
          <p:cNvSpPr/>
          <p:nvPr/>
        </p:nvSpPr>
        <p:spPr>
          <a:xfrm>
            <a:off x="4250390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2" name="Gerader Verbinder 191">
            <a:extLst>
              <a:ext uri="{FF2B5EF4-FFF2-40B4-BE49-F238E27FC236}">
                <a16:creationId xmlns:a16="http://schemas.microsoft.com/office/drawing/2014/main" id="{FC97577C-E647-D5FB-DFBD-0EB76B5610EF}"/>
              </a:ext>
            </a:extLst>
          </p:cNvPr>
          <p:cNvCxnSpPr/>
          <p:nvPr/>
        </p:nvCxnSpPr>
        <p:spPr>
          <a:xfrm>
            <a:off x="4191010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193" name="Rechteck 192">
            <a:extLst>
              <a:ext uri="{FF2B5EF4-FFF2-40B4-BE49-F238E27FC236}">
                <a16:creationId xmlns:a16="http://schemas.microsoft.com/office/drawing/2014/main" id="{68E80503-32BE-557C-B7D9-79679FB8BBC9}"/>
              </a:ext>
            </a:extLst>
          </p:cNvPr>
          <p:cNvSpPr/>
          <p:nvPr/>
        </p:nvSpPr>
        <p:spPr>
          <a:xfrm>
            <a:off x="4069858" y="4286687"/>
            <a:ext cx="78357" cy="8138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D9CD8413-C3D2-9052-5393-3538C4342618}"/>
              </a:ext>
            </a:extLst>
          </p:cNvPr>
          <p:cNvSpPr/>
          <p:nvPr/>
        </p:nvSpPr>
        <p:spPr>
          <a:xfrm>
            <a:off x="406985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C32399AF-4804-9F30-D072-08F4507F4876}"/>
              </a:ext>
            </a:extLst>
          </p:cNvPr>
          <p:cNvSpPr/>
          <p:nvPr/>
        </p:nvSpPr>
        <p:spPr>
          <a:xfrm>
            <a:off x="4129238" y="4372697"/>
            <a:ext cx="18977" cy="2102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216000" tIns="216000" rIns="216000" bIns="216000" rtlCol="0" anchor="t"/>
          <a:lstStyle/>
          <a:p>
            <a:pPr marL="0" marR="0" lvl="0" indent="0" defTabSz="432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196" name="Gerader Verbinder 195">
            <a:extLst>
              <a:ext uri="{FF2B5EF4-FFF2-40B4-BE49-F238E27FC236}">
                <a16:creationId xmlns:a16="http://schemas.microsoft.com/office/drawing/2014/main" id="{551B1242-E43A-FC8A-CB1F-461C4B16D9A0}"/>
              </a:ext>
            </a:extLst>
          </p:cNvPr>
          <p:cNvCxnSpPr/>
          <p:nvPr/>
        </p:nvCxnSpPr>
        <p:spPr>
          <a:xfrm>
            <a:off x="4069858" y="4370630"/>
            <a:ext cx="78357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05" name="Textfeld 204">
            <a:extLst>
              <a:ext uri="{FF2B5EF4-FFF2-40B4-BE49-F238E27FC236}">
                <a16:creationId xmlns:a16="http://schemas.microsoft.com/office/drawing/2014/main" id="{8F594619-CC2E-E3DF-DF0D-5FE2DB5AD7CA}"/>
              </a:ext>
            </a:extLst>
          </p:cNvPr>
          <p:cNvSpPr txBox="1"/>
          <p:nvPr/>
        </p:nvSpPr>
        <p:spPr>
          <a:xfrm>
            <a:off x="4275659" y="4100450"/>
            <a:ext cx="4048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!</a:t>
            </a:r>
            <a:endParaRPr lang="de-DE" b="1" dirty="0">
              <a:ln>
                <a:solidFill>
                  <a:schemeClr val="tx1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556D934-49B0-633F-1AC7-334FE262B71C}"/>
              </a:ext>
            </a:extLst>
          </p:cNvPr>
          <p:cNvSpPr txBox="1"/>
          <p:nvPr/>
        </p:nvSpPr>
        <p:spPr>
          <a:xfrm>
            <a:off x="1347211" y="2674360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>
              <a:solidFill>
                <a:schemeClr val="accent1"/>
              </a:solidFill>
              <a:latin typeface="Aptos" panose="02110004020202020204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57E363-0725-5207-D9FD-B03C4821E5D4}"/>
              </a:ext>
            </a:extLst>
          </p:cNvPr>
          <p:cNvSpPr txBox="1"/>
          <p:nvPr/>
        </p:nvSpPr>
        <p:spPr>
          <a:xfrm>
            <a:off x="1375468" y="5285152"/>
            <a:ext cx="2016739" cy="5539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Two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suppliers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for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  <a:r>
              <a:rPr lang="de-DE" sz="1000" dirty="0" err="1">
                <a:solidFill>
                  <a:schemeClr val="accent1"/>
                </a:solidFill>
              </a:rPr>
              <a:t>the</a:t>
            </a:r>
            <a:r>
              <a:rPr lang="de-DE" sz="1000" dirty="0">
                <a:solidFill>
                  <a:schemeClr val="accent1"/>
                </a:solidFill>
              </a:rPr>
              <a:t> same i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accent1"/>
                </a:solidFill>
              </a:rPr>
              <a:t>Common material </a:t>
            </a:r>
            <a:r>
              <a:rPr lang="de-DE" sz="1000" dirty="0" err="1">
                <a:solidFill>
                  <a:schemeClr val="accent1"/>
                </a:solidFill>
              </a:rPr>
              <a:t>demand</a:t>
            </a:r>
            <a:r>
              <a:rPr lang="de-DE" sz="1000" dirty="0">
                <a:solidFill>
                  <a:schemeClr val="accent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accent1"/>
                </a:solidFill>
              </a:rPr>
              <a:t>One</a:t>
            </a:r>
            <a:r>
              <a:rPr lang="de-DE" sz="1000" dirty="0">
                <a:solidFill>
                  <a:schemeClr val="accent1"/>
                </a:solidFill>
              </a:rPr>
              <a:t> Storage</a:t>
            </a:r>
          </a:p>
        </p:txBody>
      </p:sp>
    </p:spTree>
    <p:extLst>
      <p:ext uri="{BB962C8B-B14F-4D97-AF65-F5344CB8AC3E}">
        <p14:creationId xmlns:p14="http://schemas.microsoft.com/office/powerpoint/2010/main" val="330740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99A96-8B82-F6BB-E33C-DE76142F5D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6">
            <a:extLst>
              <a:ext uri="{FF2B5EF4-FFF2-40B4-BE49-F238E27FC236}">
                <a16:creationId xmlns:a16="http://schemas.microsoft.com/office/drawing/2014/main" id="{408B5C20-E801-AA1A-1FA5-7C88132ACEA9}"/>
              </a:ext>
            </a:extLst>
          </p:cNvPr>
          <p:cNvSpPr/>
          <p:nvPr/>
        </p:nvSpPr>
        <p:spPr>
          <a:xfrm>
            <a:off x="674472" y="466117"/>
            <a:ext cx="11162030" cy="5595025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7CCA5333-A3BB-972D-3E1B-257E973B73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CA5333-A3BB-972D-3E1B-257E973B7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809CA002-3DB7-C1C7-D22B-F619CBA8E93F}"/>
              </a:ext>
            </a:extLst>
          </p:cNvPr>
          <p:cNvSpPr/>
          <p:nvPr/>
        </p:nvSpPr>
        <p:spPr>
          <a:xfrm>
            <a:off x="1455945" y="1557669"/>
            <a:ext cx="9280109" cy="32131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4F0C6BA-43CD-1ED8-8300-F84FBCDEBD33}"/>
              </a:ext>
            </a:extLst>
          </p:cNvPr>
          <p:cNvSpPr/>
          <p:nvPr/>
        </p:nvSpPr>
        <p:spPr>
          <a:xfrm>
            <a:off x="1580377" y="1371932"/>
            <a:ext cx="4075616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Potentials</a:t>
            </a:r>
          </a:p>
        </p:txBody>
      </p:sp>
      <p:pic>
        <p:nvPicPr>
          <p:cNvPr id="24" name="Grafik 23" descr="Arbeiten von zu Hause Schreibtisch Silhouette">
            <a:extLst>
              <a:ext uri="{FF2B5EF4-FFF2-40B4-BE49-F238E27FC236}">
                <a16:creationId xmlns:a16="http://schemas.microsoft.com/office/drawing/2014/main" id="{38194358-5410-4668-6946-9DD94F4A8D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90495" y="3191862"/>
            <a:ext cx="777240" cy="777240"/>
          </a:xfrm>
          <a:prstGeom prst="rect">
            <a:avLst/>
          </a:prstGeom>
        </p:spPr>
      </p:pic>
      <p:pic>
        <p:nvPicPr>
          <p:cNvPr id="26" name="Grafik 25" descr="Lager Silhouette">
            <a:extLst>
              <a:ext uri="{FF2B5EF4-FFF2-40B4-BE49-F238E27FC236}">
                <a16:creationId xmlns:a16="http://schemas.microsoft.com/office/drawing/2014/main" id="{EF53BC96-7414-5C6F-2F45-C902A610E8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91462" y="3244037"/>
            <a:ext cx="665480" cy="665480"/>
          </a:xfrm>
          <a:prstGeom prst="rect">
            <a:avLst/>
          </a:prstGeom>
        </p:spPr>
      </p:pic>
      <p:pic>
        <p:nvPicPr>
          <p:cNvPr id="28" name="Grafik 27" descr="LKW Silhouette">
            <a:extLst>
              <a:ext uri="{FF2B5EF4-FFF2-40B4-BE49-F238E27FC236}">
                <a16:creationId xmlns:a16="http://schemas.microsoft.com/office/drawing/2014/main" id="{C7F1731D-1E7E-5C78-8873-7E8A3ADFDA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33577" y="3510958"/>
            <a:ext cx="453923" cy="453923"/>
          </a:xfrm>
          <a:prstGeom prst="rect">
            <a:avLst/>
          </a:prstGeom>
        </p:spPr>
      </p:pic>
      <p:pic>
        <p:nvPicPr>
          <p:cNvPr id="30" name="Grafik 29" descr="Tools Silhouette">
            <a:extLst>
              <a:ext uri="{FF2B5EF4-FFF2-40B4-BE49-F238E27FC236}">
                <a16:creationId xmlns:a16="http://schemas.microsoft.com/office/drawing/2014/main" id="{CAE8EB02-82F3-D726-7EAC-8844BDD7A92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92429" y="3447174"/>
            <a:ext cx="443231" cy="443231"/>
          </a:xfrm>
          <a:prstGeom prst="rect">
            <a:avLst/>
          </a:prstGeom>
        </p:spPr>
      </p:pic>
      <p:pic>
        <p:nvPicPr>
          <p:cNvPr id="32" name="Grafik 31" descr="Roboterhand Silhouette">
            <a:extLst>
              <a:ext uri="{FF2B5EF4-FFF2-40B4-BE49-F238E27FC236}">
                <a16:creationId xmlns:a16="http://schemas.microsoft.com/office/drawing/2014/main" id="{B3D5ED8F-0EA0-E7BC-4971-79A6206805F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46919" y="3401135"/>
            <a:ext cx="535307" cy="535307"/>
          </a:xfrm>
          <a:prstGeom prst="rect">
            <a:avLst/>
          </a:prstGeom>
        </p:spPr>
      </p:pic>
      <p:pic>
        <p:nvPicPr>
          <p:cNvPr id="34" name="Grafik 33" descr="Fabrik Silhouette">
            <a:extLst>
              <a:ext uri="{FF2B5EF4-FFF2-40B4-BE49-F238E27FC236}">
                <a16:creationId xmlns:a16="http://schemas.microsoft.com/office/drawing/2014/main" id="{22CCD1FF-7897-E0BB-3FDA-9D971461D3E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655993" y="1981063"/>
            <a:ext cx="914400" cy="914400"/>
          </a:xfrm>
          <a:prstGeom prst="rect">
            <a:avLst/>
          </a:prstGeom>
        </p:spPr>
      </p:pic>
      <p:pic>
        <p:nvPicPr>
          <p:cNvPr id="36" name="Grafik 35" descr="Münzen Silhouette">
            <a:extLst>
              <a:ext uri="{FF2B5EF4-FFF2-40B4-BE49-F238E27FC236}">
                <a16:creationId xmlns:a16="http://schemas.microsoft.com/office/drawing/2014/main" id="{C76C1EAA-CA35-B502-345D-AC23E0E0AA9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019799" y="1881408"/>
            <a:ext cx="437579" cy="437579"/>
          </a:xfrm>
          <a:prstGeom prst="rect">
            <a:avLst/>
          </a:prstGeom>
        </p:spPr>
      </p:pic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7F143A51-B4D5-1B50-AB17-AD0680CEBD19}"/>
              </a:ext>
            </a:extLst>
          </p:cNvPr>
          <p:cNvSpPr/>
          <p:nvPr/>
        </p:nvSpPr>
        <p:spPr>
          <a:xfrm>
            <a:off x="1690495" y="3916439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Administrative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EE16A8CC-E6E3-8006-31DF-AF6FC598EBA1}"/>
              </a:ext>
            </a:extLst>
          </p:cNvPr>
          <p:cNvSpPr/>
          <p:nvPr/>
        </p:nvSpPr>
        <p:spPr>
          <a:xfrm>
            <a:off x="4791462" y="3909517"/>
            <a:ext cx="2646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irect Operational Bottleneck Costs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9" name="Rechteck: abgerundete Ecken 38">
            <a:extLst>
              <a:ext uri="{FF2B5EF4-FFF2-40B4-BE49-F238E27FC236}">
                <a16:creationId xmlns:a16="http://schemas.microsoft.com/office/drawing/2014/main" id="{6CECA24B-09E3-D850-4CB8-38E487D07FE5}"/>
              </a:ext>
            </a:extLst>
          </p:cNvPr>
          <p:cNvSpPr/>
          <p:nvPr/>
        </p:nvSpPr>
        <p:spPr>
          <a:xfrm>
            <a:off x="7892429" y="3916439"/>
            <a:ext cx="2644992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ptimization in Production &amp; Logistics</a:t>
            </a:r>
            <a:endParaRPr lang="de-DE" b="1" dirty="0">
              <a:solidFill>
                <a:schemeClr val="tx1"/>
              </a:solidFill>
            </a:endParaRPr>
          </a:p>
        </p:txBody>
      </p:sp>
      <p:cxnSp>
        <p:nvCxnSpPr>
          <p:cNvPr id="41" name="Verbinder: gewinkelt 40">
            <a:extLst>
              <a:ext uri="{FF2B5EF4-FFF2-40B4-BE49-F238E27FC236}">
                <a16:creationId xmlns:a16="http://schemas.microsoft.com/office/drawing/2014/main" id="{7811F49B-A8EC-F228-15BF-631B3EF0CBBC}"/>
              </a:ext>
            </a:extLst>
          </p:cNvPr>
          <p:cNvCxnSpPr>
            <a:stCxn id="34" idx="2"/>
            <a:endCxn id="39" idx="0"/>
          </p:cNvCxnSpPr>
          <p:nvPr/>
        </p:nvCxnSpPr>
        <p:spPr>
          <a:xfrm rot="16200000" flipH="1">
            <a:off x="7153571" y="1855085"/>
            <a:ext cx="1020976" cy="3101732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Verbinder: gewinkelt 47">
            <a:extLst>
              <a:ext uri="{FF2B5EF4-FFF2-40B4-BE49-F238E27FC236}">
                <a16:creationId xmlns:a16="http://schemas.microsoft.com/office/drawing/2014/main" id="{DE07E399-539B-B2DE-E8F3-37B59A22AF8B}"/>
              </a:ext>
            </a:extLst>
          </p:cNvPr>
          <p:cNvCxnSpPr>
            <a:stCxn id="34" idx="2"/>
            <a:endCxn id="37" idx="0"/>
          </p:cNvCxnSpPr>
          <p:nvPr/>
        </p:nvCxnSpPr>
        <p:spPr>
          <a:xfrm rot="5400000">
            <a:off x="4052856" y="1856102"/>
            <a:ext cx="1020976" cy="3099698"/>
          </a:xfrm>
          <a:prstGeom prst="bentConnector3">
            <a:avLst>
              <a:gd name="adj1" fmla="val 17907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0031F02-8749-FDC1-6129-95D2F0FBD4D3}"/>
              </a:ext>
            </a:extLst>
          </p:cNvPr>
          <p:cNvCxnSpPr>
            <a:cxnSpLocks/>
            <a:stCxn id="34" idx="2"/>
            <a:endCxn id="38" idx="0"/>
          </p:cNvCxnSpPr>
          <p:nvPr/>
        </p:nvCxnSpPr>
        <p:spPr>
          <a:xfrm>
            <a:off x="6113193" y="2895463"/>
            <a:ext cx="1269" cy="1014054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68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82D85A-6F3F-E99C-0849-514A629D2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56">
            <a:extLst>
              <a:ext uri="{FF2B5EF4-FFF2-40B4-BE49-F238E27FC236}">
                <a16:creationId xmlns:a16="http://schemas.microsoft.com/office/drawing/2014/main" id="{BBA66418-4FE8-D3BB-A596-32ACEE583168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164" name="think-cell data - do not delete" hidden="1">
            <a:extLst>
              <a:ext uri="{FF2B5EF4-FFF2-40B4-BE49-F238E27FC236}">
                <a16:creationId xmlns:a16="http://schemas.microsoft.com/office/drawing/2014/main" id="{9C83344A-C7F5-59DC-A3AC-9132C0FAC3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257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83344A-C7F5-59DC-A3AC-9132C0FAC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4C2CD605-3DC3-0AC3-567F-D6050F08909C}"/>
              </a:ext>
            </a:extLst>
          </p:cNvPr>
          <p:cNvSpPr/>
          <p:nvPr/>
        </p:nvSpPr>
        <p:spPr>
          <a:xfrm>
            <a:off x="743341" y="451968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1356FD25-84C8-46BE-0648-3FA07671967B}"/>
              </a:ext>
            </a:extLst>
          </p:cNvPr>
          <p:cNvSpPr/>
          <p:nvPr/>
        </p:nvSpPr>
        <p:spPr>
          <a:xfrm>
            <a:off x="867773" y="266230"/>
            <a:ext cx="270000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upplier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238D3A13-28FC-2C63-5000-CB1E73B3831D}"/>
              </a:ext>
            </a:extLst>
          </p:cNvPr>
          <p:cNvSpPr/>
          <p:nvPr/>
        </p:nvSpPr>
        <p:spPr>
          <a:xfrm>
            <a:off x="6228670" y="451968"/>
            <a:ext cx="5352659" cy="25041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8" name="Rechteck: abgerundete Ecken 217">
            <a:extLst>
              <a:ext uri="{FF2B5EF4-FFF2-40B4-BE49-F238E27FC236}">
                <a16:creationId xmlns:a16="http://schemas.microsoft.com/office/drawing/2014/main" id="{0D20FEDC-CD7E-BABD-B605-B6F779E9C757}"/>
              </a:ext>
            </a:extLst>
          </p:cNvPr>
          <p:cNvSpPr/>
          <p:nvPr/>
        </p:nvSpPr>
        <p:spPr>
          <a:xfrm>
            <a:off x="8748584" y="266230"/>
            <a:ext cx="270987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stomer</a:t>
            </a:r>
          </a:p>
        </p:txBody>
      </p: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9DA6AA73-ACC8-BD8A-100C-366157A342A5}"/>
              </a:ext>
            </a:extLst>
          </p:cNvPr>
          <p:cNvCxnSpPr/>
          <p:nvPr/>
        </p:nvCxnSpPr>
        <p:spPr>
          <a:xfrm flipV="1">
            <a:off x="1097299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Gerader Verbinder 235">
            <a:extLst>
              <a:ext uri="{FF2B5EF4-FFF2-40B4-BE49-F238E27FC236}">
                <a16:creationId xmlns:a16="http://schemas.microsoft.com/office/drawing/2014/main" id="{7E609624-ECCD-4F68-2769-BA05F86EF7A6}"/>
              </a:ext>
            </a:extLst>
          </p:cNvPr>
          <p:cNvCxnSpPr/>
          <p:nvPr/>
        </p:nvCxnSpPr>
        <p:spPr>
          <a:xfrm>
            <a:off x="1560239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Gerader Verbinder 236">
            <a:extLst>
              <a:ext uri="{FF2B5EF4-FFF2-40B4-BE49-F238E27FC236}">
                <a16:creationId xmlns:a16="http://schemas.microsoft.com/office/drawing/2014/main" id="{337482E5-4DAE-D2CF-FD60-C8D29DD473A5}"/>
              </a:ext>
            </a:extLst>
          </p:cNvPr>
          <p:cNvCxnSpPr/>
          <p:nvPr/>
        </p:nvCxnSpPr>
        <p:spPr>
          <a:xfrm flipV="1">
            <a:off x="1566590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Gerader Verbinder 237">
            <a:extLst>
              <a:ext uri="{FF2B5EF4-FFF2-40B4-BE49-F238E27FC236}">
                <a16:creationId xmlns:a16="http://schemas.microsoft.com/office/drawing/2014/main" id="{4D308806-55CB-F4DB-319D-41FC979C97D2}"/>
              </a:ext>
            </a:extLst>
          </p:cNvPr>
          <p:cNvCxnSpPr/>
          <p:nvPr/>
        </p:nvCxnSpPr>
        <p:spPr>
          <a:xfrm>
            <a:off x="2029530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r Verbinder 238">
            <a:extLst>
              <a:ext uri="{FF2B5EF4-FFF2-40B4-BE49-F238E27FC236}">
                <a16:creationId xmlns:a16="http://schemas.microsoft.com/office/drawing/2014/main" id="{D728611B-E931-367D-1A39-495B7300C5D4}"/>
              </a:ext>
            </a:extLst>
          </p:cNvPr>
          <p:cNvCxnSpPr/>
          <p:nvPr/>
        </p:nvCxnSpPr>
        <p:spPr>
          <a:xfrm flipV="1">
            <a:off x="2035881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Gerader Verbinder 239">
            <a:extLst>
              <a:ext uri="{FF2B5EF4-FFF2-40B4-BE49-F238E27FC236}">
                <a16:creationId xmlns:a16="http://schemas.microsoft.com/office/drawing/2014/main" id="{137CFFBE-83F1-2081-5AE4-8C345D638F59}"/>
              </a:ext>
            </a:extLst>
          </p:cNvPr>
          <p:cNvCxnSpPr/>
          <p:nvPr/>
        </p:nvCxnSpPr>
        <p:spPr>
          <a:xfrm>
            <a:off x="2498821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Gerader Verbinder 240">
            <a:extLst>
              <a:ext uri="{FF2B5EF4-FFF2-40B4-BE49-F238E27FC236}">
                <a16:creationId xmlns:a16="http://schemas.microsoft.com/office/drawing/2014/main" id="{F6010B3C-41DF-4E65-52FA-C296E8B8412A}"/>
              </a:ext>
            </a:extLst>
          </p:cNvPr>
          <p:cNvCxnSpPr/>
          <p:nvPr/>
        </p:nvCxnSpPr>
        <p:spPr>
          <a:xfrm flipV="1">
            <a:off x="2505172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Gerader Verbinder 241">
            <a:extLst>
              <a:ext uri="{FF2B5EF4-FFF2-40B4-BE49-F238E27FC236}">
                <a16:creationId xmlns:a16="http://schemas.microsoft.com/office/drawing/2014/main" id="{819EDFDF-AA3A-3B1B-F39C-B5FE4D081C0F}"/>
              </a:ext>
            </a:extLst>
          </p:cNvPr>
          <p:cNvCxnSpPr/>
          <p:nvPr/>
        </p:nvCxnSpPr>
        <p:spPr>
          <a:xfrm>
            <a:off x="2968112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Gerader Verbinder 242">
            <a:extLst>
              <a:ext uri="{FF2B5EF4-FFF2-40B4-BE49-F238E27FC236}">
                <a16:creationId xmlns:a16="http://schemas.microsoft.com/office/drawing/2014/main" id="{E23473CA-FA73-F74E-8CF2-0729A2B0E248}"/>
              </a:ext>
            </a:extLst>
          </p:cNvPr>
          <p:cNvCxnSpPr/>
          <p:nvPr/>
        </p:nvCxnSpPr>
        <p:spPr>
          <a:xfrm flipV="1">
            <a:off x="2961762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Gerader Verbinder 243">
            <a:extLst>
              <a:ext uri="{FF2B5EF4-FFF2-40B4-BE49-F238E27FC236}">
                <a16:creationId xmlns:a16="http://schemas.microsoft.com/office/drawing/2014/main" id="{C1F954A1-6F4C-04F8-4B2E-1A9B1FC8349A}"/>
              </a:ext>
            </a:extLst>
          </p:cNvPr>
          <p:cNvCxnSpPr/>
          <p:nvPr/>
        </p:nvCxnSpPr>
        <p:spPr>
          <a:xfrm>
            <a:off x="3424702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Gerader Verbinder 244">
            <a:extLst>
              <a:ext uri="{FF2B5EF4-FFF2-40B4-BE49-F238E27FC236}">
                <a16:creationId xmlns:a16="http://schemas.microsoft.com/office/drawing/2014/main" id="{8FBDC731-BC96-C727-A7FE-E419FA03D6DA}"/>
              </a:ext>
            </a:extLst>
          </p:cNvPr>
          <p:cNvCxnSpPr/>
          <p:nvPr/>
        </p:nvCxnSpPr>
        <p:spPr>
          <a:xfrm flipV="1">
            <a:off x="3431053" y="1081280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r Verbinder 245">
            <a:extLst>
              <a:ext uri="{FF2B5EF4-FFF2-40B4-BE49-F238E27FC236}">
                <a16:creationId xmlns:a16="http://schemas.microsoft.com/office/drawing/2014/main" id="{09335D0C-AAF8-13C2-59E6-409EEB8A9CB9}"/>
              </a:ext>
            </a:extLst>
          </p:cNvPr>
          <p:cNvCxnSpPr/>
          <p:nvPr/>
        </p:nvCxnSpPr>
        <p:spPr>
          <a:xfrm>
            <a:off x="3893993" y="1081280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>
            <a:extLst>
              <a:ext uri="{FF2B5EF4-FFF2-40B4-BE49-F238E27FC236}">
                <a16:creationId xmlns:a16="http://schemas.microsoft.com/office/drawing/2014/main" id="{EC93545B-31D1-F610-57F3-899F2E626F1E}"/>
              </a:ext>
            </a:extLst>
          </p:cNvPr>
          <p:cNvSpPr/>
          <p:nvPr/>
        </p:nvSpPr>
        <p:spPr>
          <a:xfrm>
            <a:off x="1097299" y="1960499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49" name="Gerade Verbindung mit Pfeil 248">
            <a:extLst>
              <a:ext uri="{FF2B5EF4-FFF2-40B4-BE49-F238E27FC236}">
                <a16:creationId xmlns:a16="http://schemas.microsoft.com/office/drawing/2014/main" id="{21AEB002-801C-568D-8143-8886BF537614}"/>
              </a:ext>
            </a:extLst>
          </p:cNvPr>
          <p:cNvCxnSpPr/>
          <p:nvPr/>
        </p:nvCxnSpPr>
        <p:spPr>
          <a:xfrm flipV="1">
            <a:off x="1097299" y="986035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F3B08616-D6B9-3617-62B1-8A2FAE962AC4}"/>
              </a:ext>
            </a:extLst>
          </p:cNvPr>
          <p:cNvCxnSpPr>
            <a:cxnSpLocks/>
          </p:cNvCxnSpPr>
          <p:nvPr/>
        </p:nvCxnSpPr>
        <p:spPr>
          <a:xfrm>
            <a:off x="1097299" y="2649478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feld 252">
            <a:extLst>
              <a:ext uri="{FF2B5EF4-FFF2-40B4-BE49-F238E27FC236}">
                <a16:creationId xmlns:a16="http://schemas.microsoft.com/office/drawing/2014/main" id="{9DE30C75-8B27-766E-DE27-88EB1EF58815}"/>
              </a:ext>
            </a:extLst>
          </p:cNvPr>
          <p:cNvSpPr txBox="1"/>
          <p:nvPr/>
        </p:nvSpPr>
        <p:spPr>
          <a:xfrm>
            <a:off x="894748" y="786092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4" name="Textfeld 253">
            <a:extLst>
              <a:ext uri="{FF2B5EF4-FFF2-40B4-BE49-F238E27FC236}">
                <a16:creationId xmlns:a16="http://schemas.microsoft.com/office/drawing/2014/main" id="{C21C6964-BAF9-B545-4EC0-10D6690F184C}"/>
              </a:ext>
            </a:extLst>
          </p:cNvPr>
          <p:cNvSpPr txBox="1"/>
          <p:nvPr/>
        </p:nvSpPr>
        <p:spPr>
          <a:xfrm>
            <a:off x="3827678" y="2692101"/>
            <a:ext cx="930875" cy="24691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55" name="Textfeld 254">
            <a:extLst>
              <a:ext uri="{FF2B5EF4-FFF2-40B4-BE49-F238E27FC236}">
                <a16:creationId xmlns:a16="http://schemas.microsoft.com/office/drawing/2014/main" id="{A4E25C8E-799D-F1F9-3831-8FFB8388E7F2}"/>
              </a:ext>
            </a:extLst>
          </p:cNvPr>
          <p:cNvSpPr txBox="1"/>
          <p:nvPr/>
        </p:nvSpPr>
        <p:spPr>
          <a:xfrm>
            <a:off x="1793723" y="2177728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57" name="Gerader Verbinder 256">
            <a:extLst>
              <a:ext uri="{FF2B5EF4-FFF2-40B4-BE49-F238E27FC236}">
                <a16:creationId xmlns:a16="http://schemas.microsoft.com/office/drawing/2014/main" id="{C7D83B49-18E1-8809-19A6-C3AED676BDF1}"/>
              </a:ext>
            </a:extLst>
          </p:cNvPr>
          <p:cNvCxnSpPr/>
          <p:nvPr/>
        </p:nvCxnSpPr>
        <p:spPr>
          <a:xfrm>
            <a:off x="8759543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Gerader Verbinder 257">
            <a:extLst>
              <a:ext uri="{FF2B5EF4-FFF2-40B4-BE49-F238E27FC236}">
                <a16:creationId xmlns:a16="http://schemas.microsoft.com/office/drawing/2014/main" id="{99E9F111-320D-29C1-1D51-0DE3C39142D6}"/>
              </a:ext>
            </a:extLst>
          </p:cNvPr>
          <p:cNvCxnSpPr>
            <a:cxnSpLocks/>
          </p:cNvCxnSpPr>
          <p:nvPr/>
        </p:nvCxnSpPr>
        <p:spPr>
          <a:xfrm flipH="1" flipV="1">
            <a:off x="8765894" y="1019592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Gerader Verbinder 258">
            <a:extLst>
              <a:ext uri="{FF2B5EF4-FFF2-40B4-BE49-F238E27FC236}">
                <a16:creationId xmlns:a16="http://schemas.microsoft.com/office/drawing/2014/main" id="{61187E3E-BB01-8E5A-399F-7F471E58E99A}"/>
              </a:ext>
            </a:extLst>
          </p:cNvPr>
          <p:cNvCxnSpPr/>
          <p:nvPr/>
        </p:nvCxnSpPr>
        <p:spPr>
          <a:xfrm>
            <a:off x="9228834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BB0F20C1-467F-860F-6824-B2AD11C4367D}"/>
              </a:ext>
            </a:extLst>
          </p:cNvPr>
          <p:cNvCxnSpPr/>
          <p:nvPr/>
        </p:nvCxnSpPr>
        <p:spPr>
          <a:xfrm>
            <a:off x="9698125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Gerader Verbinder 262">
            <a:extLst>
              <a:ext uri="{FF2B5EF4-FFF2-40B4-BE49-F238E27FC236}">
                <a16:creationId xmlns:a16="http://schemas.microsoft.com/office/drawing/2014/main" id="{9BD4F6ED-239A-0B2A-7DA6-89CB0096DC9E}"/>
              </a:ext>
            </a:extLst>
          </p:cNvPr>
          <p:cNvCxnSpPr/>
          <p:nvPr/>
        </p:nvCxnSpPr>
        <p:spPr>
          <a:xfrm>
            <a:off x="10167416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r Verbinder 264">
            <a:extLst>
              <a:ext uri="{FF2B5EF4-FFF2-40B4-BE49-F238E27FC236}">
                <a16:creationId xmlns:a16="http://schemas.microsoft.com/office/drawing/2014/main" id="{EEE47B01-CAE0-C344-D8B9-DE9147EC525E}"/>
              </a:ext>
            </a:extLst>
          </p:cNvPr>
          <p:cNvCxnSpPr/>
          <p:nvPr/>
        </p:nvCxnSpPr>
        <p:spPr>
          <a:xfrm>
            <a:off x="10624006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r Verbinder 266">
            <a:extLst>
              <a:ext uri="{FF2B5EF4-FFF2-40B4-BE49-F238E27FC236}">
                <a16:creationId xmlns:a16="http://schemas.microsoft.com/office/drawing/2014/main" id="{045D03CB-8942-CC05-5796-C48A8488F05C}"/>
              </a:ext>
            </a:extLst>
          </p:cNvPr>
          <p:cNvCxnSpPr/>
          <p:nvPr/>
        </p:nvCxnSpPr>
        <p:spPr>
          <a:xfrm>
            <a:off x="11093297" y="988061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Rechteck 267">
            <a:extLst>
              <a:ext uri="{FF2B5EF4-FFF2-40B4-BE49-F238E27FC236}">
                <a16:creationId xmlns:a16="http://schemas.microsoft.com/office/drawing/2014/main" id="{E74FE37C-BF7D-7820-B974-3E4324FC6745}"/>
              </a:ext>
            </a:extLst>
          </p:cNvPr>
          <p:cNvSpPr/>
          <p:nvPr/>
        </p:nvSpPr>
        <p:spPr>
          <a:xfrm>
            <a:off x="8296603" y="1867280"/>
            <a:ext cx="2796694" cy="68898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8A65F741-2DF5-D696-A338-F7ACE396FA80}"/>
              </a:ext>
            </a:extLst>
          </p:cNvPr>
          <p:cNvCxnSpPr/>
          <p:nvPr/>
        </p:nvCxnSpPr>
        <p:spPr>
          <a:xfrm flipV="1">
            <a:off x="8296603" y="892816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Gerade Verbindung mit Pfeil 269">
            <a:extLst>
              <a:ext uri="{FF2B5EF4-FFF2-40B4-BE49-F238E27FC236}">
                <a16:creationId xmlns:a16="http://schemas.microsoft.com/office/drawing/2014/main" id="{F576B871-372A-980C-76DA-543297629BEC}"/>
              </a:ext>
            </a:extLst>
          </p:cNvPr>
          <p:cNvCxnSpPr>
            <a:cxnSpLocks/>
          </p:cNvCxnSpPr>
          <p:nvPr/>
        </p:nvCxnSpPr>
        <p:spPr>
          <a:xfrm>
            <a:off x="8296603" y="2556259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Textfeld 270">
            <a:extLst>
              <a:ext uri="{FF2B5EF4-FFF2-40B4-BE49-F238E27FC236}">
                <a16:creationId xmlns:a16="http://schemas.microsoft.com/office/drawing/2014/main" id="{D6E10B1B-5C5F-3299-FD0A-4C96165FBD8E}"/>
              </a:ext>
            </a:extLst>
          </p:cNvPr>
          <p:cNvSpPr txBox="1"/>
          <p:nvPr/>
        </p:nvSpPr>
        <p:spPr>
          <a:xfrm>
            <a:off x="8136730" y="704743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2" name="Textfeld 271">
            <a:extLst>
              <a:ext uri="{FF2B5EF4-FFF2-40B4-BE49-F238E27FC236}">
                <a16:creationId xmlns:a16="http://schemas.microsoft.com/office/drawing/2014/main" id="{C87319B6-DB40-9001-0438-29229410CD6F}"/>
              </a:ext>
            </a:extLst>
          </p:cNvPr>
          <p:cNvSpPr txBox="1"/>
          <p:nvPr/>
        </p:nvSpPr>
        <p:spPr>
          <a:xfrm>
            <a:off x="11093297" y="2649479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73" name="Textfeld 272">
            <a:extLst>
              <a:ext uri="{FF2B5EF4-FFF2-40B4-BE49-F238E27FC236}">
                <a16:creationId xmlns:a16="http://schemas.microsoft.com/office/drawing/2014/main" id="{976B72F4-8D99-F1E4-84AC-5BE0797772BC}"/>
              </a:ext>
            </a:extLst>
          </p:cNvPr>
          <p:cNvSpPr txBox="1"/>
          <p:nvPr/>
        </p:nvSpPr>
        <p:spPr>
          <a:xfrm>
            <a:off x="8993027" y="2084509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276" name="Gerader Verbinder 275">
            <a:extLst>
              <a:ext uri="{FF2B5EF4-FFF2-40B4-BE49-F238E27FC236}">
                <a16:creationId xmlns:a16="http://schemas.microsoft.com/office/drawing/2014/main" id="{18FBE038-F191-E799-3E2B-3DA57F5DBA11}"/>
              </a:ext>
            </a:extLst>
          </p:cNvPr>
          <p:cNvCxnSpPr>
            <a:cxnSpLocks/>
          </p:cNvCxnSpPr>
          <p:nvPr/>
        </p:nvCxnSpPr>
        <p:spPr>
          <a:xfrm flipH="1" flipV="1">
            <a:off x="9228834" y="1019592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Gerader Verbinder 276">
            <a:extLst>
              <a:ext uri="{FF2B5EF4-FFF2-40B4-BE49-F238E27FC236}">
                <a16:creationId xmlns:a16="http://schemas.microsoft.com/office/drawing/2014/main" id="{042BC8E0-1F40-2C14-F278-C56A86EE94C7}"/>
              </a:ext>
            </a:extLst>
          </p:cNvPr>
          <p:cNvCxnSpPr>
            <a:cxnSpLocks/>
          </p:cNvCxnSpPr>
          <p:nvPr/>
        </p:nvCxnSpPr>
        <p:spPr>
          <a:xfrm flipH="1" flipV="1">
            <a:off x="9698126" y="1005413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Gerader Verbinder 277">
            <a:extLst>
              <a:ext uri="{FF2B5EF4-FFF2-40B4-BE49-F238E27FC236}">
                <a16:creationId xmlns:a16="http://schemas.microsoft.com/office/drawing/2014/main" id="{5348541C-1E14-4664-E59C-F9133C6F1306}"/>
              </a:ext>
            </a:extLst>
          </p:cNvPr>
          <p:cNvCxnSpPr>
            <a:cxnSpLocks/>
          </p:cNvCxnSpPr>
          <p:nvPr/>
        </p:nvCxnSpPr>
        <p:spPr>
          <a:xfrm flipH="1" flipV="1">
            <a:off x="10167416" y="101409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Gerader Verbinder 278">
            <a:extLst>
              <a:ext uri="{FF2B5EF4-FFF2-40B4-BE49-F238E27FC236}">
                <a16:creationId xmlns:a16="http://schemas.microsoft.com/office/drawing/2014/main" id="{E3E60103-0C45-9EED-206E-704343453AB5}"/>
              </a:ext>
            </a:extLst>
          </p:cNvPr>
          <p:cNvCxnSpPr>
            <a:cxnSpLocks/>
          </p:cNvCxnSpPr>
          <p:nvPr/>
        </p:nvCxnSpPr>
        <p:spPr>
          <a:xfrm flipH="1" flipV="1">
            <a:off x="10636707" y="1031441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Gerader Verbinder 279">
            <a:extLst>
              <a:ext uri="{FF2B5EF4-FFF2-40B4-BE49-F238E27FC236}">
                <a16:creationId xmlns:a16="http://schemas.microsoft.com/office/drawing/2014/main" id="{06D4652C-3520-3348-84A0-83A6ADB1D6C4}"/>
              </a:ext>
            </a:extLst>
          </p:cNvPr>
          <p:cNvCxnSpPr>
            <a:cxnSpLocks/>
          </p:cNvCxnSpPr>
          <p:nvPr/>
        </p:nvCxnSpPr>
        <p:spPr>
          <a:xfrm flipH="1" flipV="1">
            <a:off x="8277553" y="1005413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Pfeil: nach rechts 306">
            <a:extLst>
              <a:ext uri="{FF2B5EF4-FFF2-40B4-BE49-F238E27FC236}">
                <a16:creationId xmlns:a16="http://schemas.microsoft.com/office/drawing/2014/main" id="{8FD3EB2C-4823-AAB5-2EC6-C75C50676EDF}"/>
              </a:ext>
            </a:extLst>
          </p:cNvPr>
          <p:cNvSpPr/>
          <p:nvPr/>
        </p:nvSpPr>
        <p:spPr>
          <a:xfrm flipH="1">
            <a:off x="5055885" y="985021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312" name="Pfeil: nach rechts 311">
            <a:extLst>
              <a:ext uri="{FF2B5EF4-FFF2-40B4-BE49-F238E27FC236}">
                <a16:creationId xmlns:a16="http://schemas.microsoft.com/office/drawing/2014/main" id="{BF69B397-36E8-82E8-5BA7-149110F14839}"/>
              </a:ext>
            </a:extLst>
          </p:cNvPr>
          <p:cNvSpPr/>
          <p:nvPr/>
        </p:nvSpPr>
        <p:spPr>
          <a:xfrm>
            <a:off x="5102780" y="1629178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sz="16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281" name="Gruppieren 280">
            <a:extLst>
              <a:ext uri="{FF2B5EF4-FFF2-40B4-BE49-F238E27FC236}">
                <a16:creationId xmlns:a16="http://schemas.microsoft.com/office/drawing/2014/main" id="{BCC63C99-8436-8021-5450-123587D47EAD}"/>
              </a:ext>
            </a:extLst>
          </p:cNvPr>
          <p:cNvGrpSpPr/>
          <p:nvPr/>
        </p:nvGrpSpPr>
        <p:grpSpPr>
          <a:xfrm>
            <a:off x="4537190" y="1724537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282" name="Grafik 281" descr="LKW Silhouette">
              <a:extLst>
                <a:ext uri="{FF2B5EF4-FFF2-40B4-BE49-F238E27FC236}">
                  <a16:creationId xmlns:a16="http://schemas.microsoft.com/office/drawing/2014/main" id="{3A6BFB22-4155-4044-EB7B-2FCC506A7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283" name="Gruppieren 282">
              <a:extLst>
                <a:ext uri="{FF2B5EF4-FFF2-40B4-BE49-F238E27FC236}">
                  <a16:creationId xmlns:a16="http://schemas.microsoft.com/office/drawing/2014/main" id="{D5005B37-12D8-9072-940D-94A7A92F76E1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9" name="Rechteck 298">
                <a:extLst>
                  <a:ext uri="{FF2B5EF4-FFF2-40B4-BE49-F238E27FC236}">
                    <a16:creationId xmlns:a16="http://schemas.microsoft.com/office/drawing/2014/main" id="{D12D673F-25E8-D7CF-ECEB-67F583FD2E6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0" name="Rechteck 299">
                <a:extLst>
                  <a:ext uri="{FF2B5EF4-FFF2-40B4-BE49-F238E27FC236}">
                    <a16:creationId xmlns:a16="http://schemas.microsoft.com/office/drawing/2014/main" id="{44060415-4650-D31B-96AA-45B7575CD26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301" name="Rechteck 300">
                <a:extLst>
                  <a:ext uri="{FF2B5EF4-FFF2-40B4-BE49-F238E27FC236}">
                    <a16:creationId xmlns:a16="http://schemas.microsoft.com/office/drawing/2014/main" id="{BBDD6CE4-336A-FD98-9CDC-565957B2CACC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302" name="Gerader Verbinder 301">
                <a:extLst>
                  <a:ext uri="{FF2B5EF4-FFF2-40B4-BE49-F238E27FC236}">
                    <a16:creationId xmlns:a16="http://schemas.microsoft.com/office/drawing/2014/main" id="{4BB3DF90-EB68-D14F-ACB1-455A32B20429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028F804D-487D-829A-B5EA-D78237F628E4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5" name="Rechteck 294">
                <a:extLst>
                  <a:ext uri="{FF2B5EF4-FFF2-40B4-BE49-F238E27FC236}">
                    <a16:creationId xmlns:a16="http://schemas.microsoft.com/office/drawing/2014/main" id="{4C803119-989C-4375-6B84-A22E84C00C22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6" name="Rechteck 295">
                <a:extLst>
                  <a:ext uri="{FF2B5EF4-FFF2-40B4-BE49-F238E27FC236}">
                    <a16:creationId xmlns:a16="http://schemas.microsoft.com/office/drawing/2014/main" id="{666FD4E1-ED51-8BD4-12E7-58D89219A6ED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7" name="Rechteck 296">
                <a:extLst>
                  <a:ext uri="{FF2B5EF4-FFF2-40B4-BE49-F238E27FC236}">
                    <a16:creationId xmlns:a16="http://schemas.microsoft.com/office/drawing/2014/main" id="{AB53E651-8520-9169-A33B-A186FABC9D9E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8" name="Gerader Verbinder 297">
                <a:extLst>
                  <a:ext uri="{FF2B5EF4-FFF2-40B4-BE49-F238E27FC236}">
                    <a16:creationId xmlns:a16="http://schemas.microsoft.com/office/drawing/2014/main" id="{C938FDA4-D46B-D416-6491-2C83CD4517EA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5" name="Gruppieren 284">
              <a:extLst>
                <a:ext uri="{FF2B5EF4-FFF2-40B4-BE49-F238E27FC236}">
                  <a16:creationId xmlns:a16="http://schemas.microsoft.com/office/drawing/2014/main" id="{5BCB93E9-43AB-D730-316F-6D22788A505A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91" name="Rechteck 290">
                <a:extLst>
                  <a:ext uri="{FF2B5EF4-FFF2-40B4-BE49-F238E27FC236}">
                    <a16:creationId xmlns:a16="http://schemas.microsoft.com/office/drawing/2014/main" id="{3F9357DC-2667-32EF-B50B-458002D2C40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2" name="Rechteck 291">
                <a:extLst>
                  <a:ext uri="{FF2B5EF4-FFF2-40B4-BE49-F238E27FC236}">
                    <a16:creationId xmlns:a16="http://schemas.microsoft.com/office/drawing/2014/main" id="{E79A5DEE-C03B-6CA6-69EB-3C9E9BC45BB6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93" name="Rechteck 292">
                <a:extLst>
                  <a:ext uri="{FF2B5EF4-FFF2-40B4-BE49-F238E27FC236}">
                    <a16:creationId xmlns:a16="http://schemas.microsoft.com/office/drawing/2014/main" id="{4B363EB6-CC52-6AC8-A3F5-ECD1FC3B9314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4" name="Gerader Verbinder 293">
                <a:extLst>
                  <a:ext uri="{FF2B5EF4-FFF2-40B4-BE49-F238E27FC236}">
                    <a16:creationId xmlns:a16="http://schemas.microsoft.com/office/drawing/2014/main" id="{2221AB38-1F59-8C9A-8BE7-CD5F2744595E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286" name="Gruppieren 285">
              <a:extLst>
                <a:ext uri="{FF2B5EF4-FFF2-40B4-BE49-F238E27FC236}">
                  <a16:creationId xmlns:a16="http://schemas.microsoft.com/office/drawing/2014/main" id="{F4867C5A-621C-7374-5C63-C368EBF4C196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287" name="Rechteck 286">
                <a:extLst>
                  <a:ext uri="{FF2B5EF4-FFF2-40B4-BE49-F238E27FC236}">
                    <a16:creationId xmlns:a16="http://schemas.microsoft.com/office/drawing/2014/main" id="{14DB8627-7BA0-D631-881B-DE596A4624A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8" name="Rechteck 287">
                <a:extLst>
                  <a:ext uri="{FF2B5EF4-FFF2-40B4-BE49-F238E27FC236}">
                    <a16:creationId xmlns:a16="http://schemas.microsoft.com/office/drawing/2014/main" id="{74BCBF39-9F59-E2F9-7D36-03DA79A6CF04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289" name="Rechteck 288">
                <a:extLst>
                  <a:ext uri="{FF2B5EF4-FFF2-40B4-BE49-F238E27FC236}">
                    <a16:creationId xmlns:a16="http://schemas.microsoft.com/office/drawing/2014/main" id="{CF281944-E2E6-D423-84E2-57ED75E95A77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290" name="Gerader Verbinder 289">
                <a:extLst>
                  <a:ext uri="{FF2B5EF4-FFF2-40B4-BE49-F238E27FC236}">
                    <a16:creationId xmlns:a16="http://schemas.microsoft.com/office/drawing/2014/main" id="{F734D4C2-8184-C95B-E806-7FC9A8CA5FD6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364" name="Rechteck 363">
            <a:extLst>
              <a:ext uri="{FF2B5EF4-FFF2-40B4-BE49-F238E27FC236}">
                <a16:creationId xmlns:a16="http://schemas.microsoft.com/office/drawing/2014/main" id="{19740D19-CB00-EE82-31AB-552E24214402}"/>
              </a:ext>
            </a:extLst>
          </p:cNvPr>
          <p:cNvSpPr/>
          <p:nvPr/>
        </p:nvSpPr>
        <p:spPr>
          <a:xfrm>
            <a:off x="754723" y="3185516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E49F5C0C-F12B-1BF7-6D0D-65915A69C343}"/>
              </a:ext>
            </a:extLst>
          </p:cNvPr>
          <p:cNvSpPr/>
          <p:nvPr/>
        </p:nvSpPr>
        <p:spPr>
          <a:xfrm>
            <a:off x="6259727" y="3191462"/>
            <a:ext cx="5352659" cy="295741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66" name="Gerader Verbinder 365">
            <a:extLst>
              <a:ext uri="{FF2B5EF4-FFF2-40B4-BE49-F238E27FC236}">
                <a16:creationId xmlns:a16="http://schemas.microsoft.com/office/drawing/2014/main" id="{DFAB4532-DAAF-8745-7537-4C067FFC5A14}"/>
              </a:ext>
            </a:extLst>
          </p:cNvPr>
          <p:cNvCxnSpPr/>
          <p:nvPr/>
        </p:nvCxnSpPr>
        <p:spPr>
          <a:xfrm flipV="1">
            <a:off x="1155636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" name="Gerader Verbinder 366">
            <a:extLst>
              <a:ext uri="{FF2B5EF4-FFF2-40B4-BE49-F238E27FC236}">
                <a16:creationId xmlns:a16="http://schemas.microsoft.com/office/drawing/2014/main" id="{C1C6B041-44C4-6B3D-C157-5EF7BA8777B8}"/>
              </a:ext>
            </a:extLst>
          </p:cNvPr>
          <p:cNvCxnSpPr/>
          <p:nvPr/>
        </p:nvCxnSpPr>
        <p:spPr>
          <a:xfrm>
            <a:off x="1618576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8" name="Gerader Verbinder 367">
            <a:extLst>
              <a:ext uri="{FF2B5EF4-FFF2-40B4-BE49-F238E27FC236}">
                <a16:creationId xmlns:a16="http://schemas.microsoft.com/office/drawing/2014/main" id="{488CB670-8618-0119-B7ED-D9CFB9A279AB}"/>
              </a:ext>
            </a:extLst>
          </p:cNvPr>
          <p:cNvCxnSpPr/>
          <p:nvPr/>
        </p:nvCxnSpPr>
        <p:spPr>
          <a:xfrm flipV="1">
            <a:off x="1624927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Gerader Verbinder 368">
            <a:extLst>
              <a:ext uri="{FF2B5EF4-FFF2-40B4-BE49-F238E27FC236}">
                <a16:creationId xmlns:a16="http://schemas.microsoft.com/office/drawing/2014/main" id="{BB382AA2-A852-684A-C337-498BFFBC7D61}"/>
              </a:ext>
            </a:extLst>
          </p:cNvPr>
          <p:cNvCxnSpPr/>
          <p:nvPr/>
        </p:nvCxnSpPr>
        <p:spPr>
          <a:xfrm>
            <a:off x="2087867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>
            <a:extLst>
              <a:ext uri="{FF2B5EF4-FFF2-40B4-BE49-F238E27FC236}">
                <a16:creationId xmlns:a16="http://schemas.microsoft.com/office/drawing/2014/main" id="{5C3EB4B0-C608-3763-8C1A-F3EB680C0802}"/>
              </a:ext>
            </a:extLst>
          </p:cNvPr>
          <p:cNvCxnSpPr/>
          <p:nvPr/>
        </p:nvCxnSpPr>
        <p:spPr>
          <a:xfrm flipV="1">
            <a:off x="2094218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Gerader Verbinder 370">
            <a:extLst>
              <a:ext uri="{FF2B5EF4-FFF2-40B4-BE49-F238E27FC236}">
                <a16:creationId xmlns:a16="http://schemas.microsoft.com/office/drawing/2014/main" id="{85E43E28-32A8-57E8-D825-87B14307C567}"/>
              </a:ext>
            </a:extLst>
          </p:cNvPr>
          <p:cNvCxnSpPr/>
          <p:nvPr/>
        </p:nvCxnSpPr>
        <p:spPr>
          <a:xfrm>
            <a:off x="2557158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r Verbinder 371">
            <a:extLst>
              <a:ext uri="{FF2B5EF4-FFF2-40B4-BE49-F238E27FC236}">
                <a16:creationId xmlns:a16="http://schemas.microsoft.com/office/drawing/2014/main" id="{BAFD9697-1DA6-7E2B-4B06-8B689858B8F2}"/>
              </a:ext>
            </a:extLst>
          </p:cNvPr>
          <p:cNvCxnSpPr/>
          <p:nvPr/>
        </p:nvCxnSpPr>
        <p:spPr>
          <a:xfrm flipV="1">
            <a:off x="2563509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>
            <a:extLst>
              <a:ext uri="{FF2B5EF4-FFF2-40B4-BE49-F238E27FC236}">
                <a16:creationId xmlns:a16="http://schemas.microsoft.com/office/drawing/2014/main" id="{B453560A-0DBE-17DB-F937-31032EA02A8A}"/>
              </a:ext>
            </a:extLst>
          </p:cNvPr>
          <p:cNvCxnSpPr/>
          <p:nvPr/>
        </p:nvCxnSpPr>
        <p:spPr>
          <a:xfrm>
            <a:off x="3026449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Gerader Verbinder 373">
            <a:extLst>
              <a:ext uri="{FF2B5EF4-FFF2-40B4-BE49-F238E27FC236}">
                <a16:creationId xmlns:a16="http://schemas.microsoft.com/office/drawing/2014/main" id="{0358FDBD-B3FE-695D-36DB-9B92EF4B8D3D}"/>
              </a:ext>
            </a:extLst>
          </p:cNvPr>
          <p:cNvCxnSpPr/>
          <p:nvPr/>
        </p:nvCxnSpPr>
        <p:spPr>
          <a:xfrm flipV="1">
            <a:off x="3020099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r Verbinder 374">
            <a:extLst>
              <a:ext uri="{FF2B5EF4-FFF2-40B4-BE49-F238E27FC236}">
                <a16:creationId xmlns:a16="http://schemas.microsoft.com/office/drawing/2014/main" id="{3B9684B1-D7BA-7882-17CC-8662FF2F8C29}"/>
              </a:ext>
            </a:extLst>
          </p:cNvPr>
          <p:cNvCxnSpPr/>
          <p:nvPr/>
        </p:nvCxnSpPr>
        <p:spPr>
          <a:xfrm>
            <a:off x="3483039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r Verbinder 375">
            <a:extLst>
              <a:ext uri="{FF2B5EF4-FFF2-40B4-BE49-F238E27FC236}">
                <a16:creationId xmlns:a16="http://schemas.microsoft.com/office/drawing/2014/main" id="{71BD2A2B-7DD7-B2AA-57A1-87FD16FAB7B5}"/>
              </a:ext>
            </a:extLst>
          </p:cNvPr>
          <p:cNvCxnSpPr/>
          <p:nvPr/>
        </p:nvCxnSpPr>
        <p:spPr>
          <a:xfrm flipV="1">
            <a:off x="3489390" y="4547973"/>
            <a:ext cx="45659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Gerader Verbinder 376">
            <a:extLst>
              <a:ext uri="{FF2B5EF4-FFF2-40B4-BE49-F238E27FC236}">
                <a16:creationId xmlns:a16="http://schemas.microsoft.com/office/drawing/2014/main" id="{A2198A4B-CA8B-E220-D4DE-137988FBE0AD}"/>
              </a:ext>
            </a:extLst>
          </p:cNvPr>
          <p:cNvCxnSpPr/>
          <p:nvPr/>
        </p:nvCxnSpPr>
        <p:spPr>
          <a:xfrm>
            <a:off x="3952330" y="4547973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Rechteck 377">
            <a:extLst>
              <a:ext uri="{FF2B5EF4-FFF2-40B4-BE49-F238E27FC236}">
                <a16:creationId xmlns:a16="http://schemas.microsoft.com/office/drawing/2014/main" id="{18930D9D-2561-A562-A313-40DD26CE8006}"/>
              </a:ext>
            </a:extLst>
          </p:cNvPr>
          <p:cNvSpPr/>
          <p:nvPr/>
        </p:nvSpPr>
        <p:spPr>
          <a:xfrm>
            <a:off x="1155636" y="5442555"/>
            <a:ext cx="2796694" cy="35803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79" name="Gerade Verbindung mit Pfeil 378">
            <a:extLst>
              <a:ext uri="{FF2B5EF4-FFF2-40B4-BE49-F238E27FC236}">
                <a16:creationId xmlns:a16="http://schemas.microsoft.com/office/drawing/2014/main" id="{DEE7AE89-6262-9C02-5423-0EA70F08BD17}"/>
              </a:ext>
            </a:extLst>
          </p:cNvPr>
          <p:cNvCxnSpPr/>
          <p:nvPr/>
        </p:nvCxnSpPr>
        <p:spPr>
          <a:xfrm flipV="1">
            <a:off x="1155636" y="4137143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Gerade Verbindung mit Pfeil 379">
            <a:extLst>
              <a:ext uri="{FF2B5EF4-FFF2-40B4-BE49-F238E27FC236}">
                <a16:creationId xmlns:a16="http://schemas.microsoft.com/office/drawing/2014/main" id="{315185D6-875C-0681-52DD-9D6C625474E9}"/>
              </a:ext>
            </a:extLst>
          </p:cNvPr>
          <p:cNvCxnSpPr>
            <a:cxnSpLocks/>
          </p:cNvCxnSpPr>
          <p:nvPr/>
        </p:nvCxnSpPr>
        <p:spPr>
          <a:xfrm>
            <a:off x="1155636" y="5800586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Textfeld 380">
            <a:extLst>
              <a:ext uri="{FF2B5EF4-FFF2-40B4-BE49-F238E27FC236}">
                <a16:creationId xmlns:a16="http://schemas.microsoft.com/office/drawing/2014/main" id="{293B6503-0FE8-B43E-8DCB-99222BC6FB79}"/>
              </a:ext>
            </a:extLst>
          </p:cNvPr>
          <p:cNvSpPr txBox="1"/>
          <p:nvPr/>
        </p:nvSpPr>
        <p:spPr>
          <a:xfrm>
            <a:off x="953085" y="3937200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82" name="Textfeld 381">
            <a:extLst>
              <a:ext uri="{FF2B5EF4-FFF2-40B4-BE49-F238E27FC236}">
                <a16:creationId xmlns:a16="http://schemas.microsoft.com/office/drawing/2014/main" id="{5A13B200-7170-609E-EFE1-7F5476D1D196}"/>
              </a:ext>
            </a:extLst>
          </p:cNvPr>
          <p:cNvSpPr txBox="1"/>
          <p:nvPr/>
        </p:nvSpPr>
        <p:spPr>
          <a:xfrm>
            <a:off x="1866193" y="5515335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83" name="Gerader Verbinder 382">
            <a:extLst>
              <a:ext uri="{FF2B5EF4-FFF2-40B4-BE49-F238E27FC236}">
                <a16:creationId xmlns:a16="http://schemas.microsoft.com/office/drawing/2014/main" id="{762973F8-0B4A-EA8F-139A-F7300D4D4136}"/>
              </a:ext>
            </a:extLst>
          </p:cNvPr>
          <p:cNvCxnSpPr/>
          <p:nvPr/>
        </p:nvCxnSpPr>
        <p:spPr>
          <a:xfrm>
            <a:off x="8815234" y="4449617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>
            <a:extLst>
              <a:ext uri="{FF2B5EF4-FFF2-40B4-BE49-F238E27FC236}">
                <a16:creationId xmlns:a16="http://schemas.microsoft.com/office/drawing/2014/main" id="{B9A14317-0E3A-3050-35E0-15758C1797E7}"/>
              </a:ext>
            </a:extLst>
          </p:cNvPr>
          <p:cNvCxnSpPr>
            <a:cxnSpLocks/>
          </p:cNvCxnSpPr>
          <p:nvPr/>
        </p:nvCxnSpPr>
        <p:spPr>
          <a:xfrm flipH="1" flipV="1">
            <a:off x="8815050" y="4462114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Gerader Verbinder 384">
            <a:extLst>
              <a:ext uri="{FF2B5EF4-FFF2-40B4-BE49-F238E27FC236}">
                <a16:creationId xmlns:a16="http://schemas.microsoft.com/office/drawing/2014/main" id="{5EC00C74-257F-DDA7-E11A-27FCE28728F1}"/>
              </a:ext>
            </a:extLst>
          </p:cNvPr>
          <p:cNvCxnSpPr/>
          <p:nvPr/>
        </p:nvCxnSpPr>
        <p:spPr>
          <a:xfrm>
            <a:off x="9284340" y="4424177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>
            <a:extLst>
              <a:ext uri="{FF2B5EF4-FFF2-40B4-BE49-F238E27FC236}">
                <a16:creationId xmlns:a16="http://schemas.microsoft.com/office/drawing/2014/main" id="{4F0F6C26-3178-44D7-9D19-98B6EA88B0AE}"/>
              </a:ext>
            </a:extLst>
          </p:cNvPr>
          <p:cNvCxnSpPr/>
          <p:nvPr/>
        </p:nvCxnSpPr>
        <p:spPr>
          <a:xfrm>
            <a:off x="9747279" y="4392646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r Verbinder 386">
            <a:extLst>
              <a:ext uri="{FF2B5EF4-FFF2-40B4-BE49-F238E27FC236}">
                <a16:creationId xmlns:a16="http://schemas.microsoft.com/office/drawing/2014/main" id="{2A3720E2-DE0C-B091-BEF0-0B357641445C}"/>
              </a:ext>
            </a:extLst>
          </p:cNvPr>
          <p:cNvCxnSpPr/>
          <p:nvPr/>
        </p:nvCxnSpPr>
        <p:spPr>
          <a:xfrm>
            <a:off x="10218104" y="4422555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Gerader Verbinder 387">
            <a:extLst>
              <a:ext uri="{FF2B5EF4-FFF2-40B4-BE49-F238E27FC236}">
                <a16:creationId xmlns:a16="http://schemas.microsoft.com/office/drawing/2014/main" id="{6E532A5B-ED90-F74D-F93C-F0C59CBAABF8}"/>
              </a:ext>
            </a:extLst>
          </p:cNvPr>
          <p:cNvCxnSpPr/>
          <p:nvPr/>
        </p:nvCxnSpPr>
        <p:spPr>
          <a:xfrm>
            <a:off x="10685860" y="4392646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Gerader Verbinder 388">
            <a:extLst>
              <a:ext uri="{FF2B5EF4-FFF2-40B4-BE49-F238E27FC236}">
                <a16:creationId xmlns:a16="http://schemas.microsoft.com/office/drawing/2014/main" id="{A3F04B4E-5881-D7DF-8878-6285B0F9C4A7}"/>
              </a:ext>
            </a:extLst>
          </p:cNvPr>
          <p:cNvCxnSpPr/>
          <p:nvPr/>
        </p:nvCxnSpPr>
        <p:spPr>
          <a:xfrm>
            <a:off x="11105997" y="4411759"/>
            <a:ext cx="0" cy="87921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0" name="Rechteck 389">
            <a:extLst>
              <a:ext uri="{FF2B5EF4-FFF2-40B4-BE49-F238E27FC236}">
                <a16:creationId xmlns:a16="http://schemas.microsoft.com/office/drawing/2014/main" id="{01B826CF-3540-6139-E922-FF18929D0750}"/>
              </a:ext>
            </a:extLst>
          </p:cNvPr>
          <p:cNvSpPr/>
          <p:nvPr/>
        </p:nvSpPr>
        <p:spPr>
          <a:xfrm>
            <a:off x="8345757" y="5328835"/>
            <a:ext cx="2796694" cy="47175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tx1"/>
            </a:bgClr>
          </a:pattFill>
          <a:ln>
            <a:solidFill>
              <a:schemeClr val="accent1"/>
            </a:solidFill>
            <a:prstDash val="dash"/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391" name="Gerade Verbindung mit Pfeil 390">
            <a:extLst>
              <a:ext uri="{FF2B5EF4-FFF2-40B4-BE49-F238E27FC236}">
                <a16:creationId xmlns:a16="http://schemas.microsoft.com/office/drawing/2014/main" id="{7BECE42F-8696-B47D-FB70-A62EBF9EBC43}"/>
              </a:ext>
            </a:extLst>
          </p:cNvPr>
          <p:cNvCxnSpPr/>
          <p:nvPr/>
        </p:nvCxnSpPr>
        <p:spPr>
          <a:xfrm flipV="1">
            <a:off x="8345757" y="4137143"/>
            <a:ext cx="0" cy="166344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Gerade Verbindung mit Pfeil 391">
            <a:extLst>
              <a:ext uri="{FF2B5EF4-FFF2-40B4-BE49-F238E27FC236}">
                <a16:creationId xmlns:a16="http://schemas.microsoft.com/office/drawing/2014/main" id="{68B8CF44-C2DB-4816-B57A-CAA881BA5CE0}"/>
              </a:ext>
            </a:extLst>
          </p:cNvPr>
          <p:cNvCxnSpPr>
            <a:cxnSpLocks/>
          </p:cNvCxnSpPr>
          <p:nvPr/>
        </p:nvCxnSpPr>
        <p:spPr>
          <a:xfrm>
            <a:off x="8345757" y="5800586"/>
            <a:ext cx="3110890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3" name="Textfeld 392">
            <a:extLst>
              <a:ext uri="{FF2B5EF4-FFF2-40B4-BE49-F238E27FC236}">
                <a16:creationId xmlns:a16="http://schemas.microsoft.com/office/drawing/2014/main" id="{76550E4D-1336-7C7A-53E1-B9D9D0D5FCD1}"/>
              </a:ext>
            </a:extLst>
          </p:cNvPr>
          <p:cNvSpPr txBox="1"/>
          <p:nvPr/>
        </p:nvSpPr>
        <p:spPr>
          <a:xfrm>
            <a:off x="8185884" y="3949070"/>
            <a:ext cx="570682" cy="266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tock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4" name="Textfeld 393">
            <a:extLst>
              <a:ext uri="{FF2B5EF4-FFF2-40B4-BE49-F238E27FC236}">
                <a16:creationId xmlns:a16="http://schemas.microsoft.com/office/drawing/2014/main" id="{9EE2DE2A-060C-AED0-A4CD-2577C31BBDD0}"/>
              </a:ext>
            </a:extLst>
          </p:cNvPr>
          <p:cNvSpPr txBox="1"/>
          <p:nvPr/>
        </p:nvSpPr>
        <p:spPr>
          <a:xfrm>
            <a:off x="9175010" y="5451176"/>
            <a:ext cx="1206631" cy="254523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Safety</a:t>
            </a: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Stock</a:t>
            </a:r>
          </a:p>
        </p:txBody>
      </p:sp>
      <p:cxnSp>
        <p:nvCxnSpPr>
          <p:cNvPr id="395" name="Gerader Verbinder 394">
            <a:extLst>
              <a:ext uri="{FF2B5EF4-FFF2-40B4-BE49-F238E27FC236}">
                <a16:creationId xmlns:a16="http://schemas.microsoft.com/office/drawing/2014/main" id="{A0A953EE-7586-670D-5DCE-2E0C89E84C24}"/>
              </a:ext>
            </a:extLst>
          </p:cNvPr>
          <p:cNvCxnSpPr>
            <a:cxnSpLocks/>
          </p:cNvCxnSpPr>
          <p:nvPr/>
        </p:nvCxnSpPr>
        <p:spPr>
          <a:xfrm flipH="1" flipV="1">
            <a:off x="9284340" y="4439907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>
            <a:extLst>
              <a:ext uri="{FF2B5EF4-FFF2-40B4-BE49-F238E27FC236}">
                <a16:creationId xmlns:a16="http://schemas.microsoft.com/office/drawing/2014/main" id="{4D1D5CC6-E650-6DAB-A545-9731D0DB876A}"/>
              </a:ext>
            </a:extLst>
          </p:cNvPr>
          <p:cNvCxnSpPr>
            <a:cxnSpLocks/>
          </p:cNvCxnSpPr>
          <p:nvPr/>
        </p:nvCxnSpPr>
        <p:spPr>
          <a:xfrm flipH="1" flipV="1">
            <a:off x="9744105" y="4396109"/>
            <a:ext cx="478815" cy="910519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Gerader Verbinder 396">
            <a:extLst>
              <a:ext uri="{FF2B5EF4-FFF2-40B4-BE49-F238E27FC236}">
                <a16:creationId xmlns:a16="http://schemas.microsoft.com/office/drawing/2014/main" id="{557C8CE6-4C15-28A3-538A-41B557A7FF8B}"/>
              </a:ext>
            </a:extLst>
          </p:cNvPr>
          <p:cNvCxnSpPr>
            <a:cxnSpLocks/>
          </p:cNvCxnSpPr>
          <p:nvPr/>
        </p:nvCxnSpPr>
        <p:spPr>
          <a:xfrm flipH="1" flipV="1">
            <a:off x="10216570" y="4418675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r Verbinder 397">
            <a:extLst>
              <a:ext uri="{FF2B5EF4-FFF2-40B4-BE49-F238E27FC236}">
                <a16:creationId xmlns:a16="http://schemas.microsoft.com/office/drawing/2014/main" id="{342CA8BA-CC14-0E10-6840-E6C2683EFBEA}"/>
              </a:ext>
            </a:extLst>
          </p:cNvPr>
          <p:cNvCxnSpPr>
            <a:cxnSpLocks/>
          </p:cNvCxnSpPr>
          <p:nvPr/>
        </p:nvCxnSpPr>
        <p:spPr>
          <a:xfrm flipH="1" flipV="1">
            <a:off x="10685861" y="4395892"/>
            <a:ext cx="420136" cy="89400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Gerader Verbinder 398">
            <a:extLst>
              <a:ext uri="{FF2B5EF4-FFF2-40B4-BE49-F238E27FC236}">
                <a16:creationId xmlns:a16="http://schemas.microsoft.com/office/drawing/2014/main" id="{88EF2D4C-E715-4267-443A-69A24617C1DF}"/>
              </a:ext>
            </a:extLst>
          </p:cNvPr>
          <p:cNvCxnSpPr>
            <a:cxnSpLocks/>
          </p:cNvCxnSpPr>
          <p:nvPr/>
        </p:nvCxnSpPr>
        <p:spPr>
          <a:xfrm flipH="1" flipV="1">
            <a:off x="8352108" y="4473230"/>
            <a:ext cx="469290" cy="84451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Textfeld 401">
            <a:extLst>
              <a:ext uri="{FF2B5EF4-FFF2-40B4-BE49-F238E27FC236}">
                <a16:creationId xmlns:a16="http://schemas.microsoft.com/office/drawing/2014/main" id="{6EA97129-EA64-E896-7D93-6BA2EBB86D0E}"/>
              </a:ext>
            </a:extLst>
          </p:cNvPr>
          <p:cNvSpPr txBox="1"/>
          <p:nvPr/>
        </p:nvSpPr>
        <p:spPr>
          <a:xfrm>
            <a:off x="11142451" y="5848177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3" name="Textfeld 402">
            <a:extLst>
              <a:ext uri="{FF2B5EF4-FFF2-40B4-BE49-F238E27FC236}">
                <a16:creationId xmlns:a16="http://schemas.microsoft.com/office/drawing/2014/main" id="{40320284-808D-1152-8863-A8518A55ADCF}"/>
              </a:ext>
            </a:extLst>
          </p:cNvPr>
          <p:cNvSpPr txBox="1"/>
          <p:nvPr/>
        </p:nvSpPr>
        <p:spPr>
          <a:xfrm>
            <a:off x="4721740" y="3930897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4" name="Textfeld 403">
            <a:extLst>
              <a:ext uri="{FF2B5EF4-FFF2-40B4-BE49-F238E27FC236}">
                <a16:creationId xmlns:a16="http://schemas.microsoft.com/office/drawing/2014/main" id="{2C3B351D-C179-D894-202D-953155241D22}"/>
              </a:ext>
            </a:extLst>
          </p:cNvPr>
          <p:cNvSpPr txBox="1"/>
          <p:nvPr/>
        </p:nvSpPr>
        <p:spPr>
          <a:xfrm>
            <a:off x="6590637" y="3987894"/>
            <a:ext cx="1122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Item Stock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5" name="Textfeld 404">
            <a:extLst>
              <a:ext uri="{FF2B5EF4-FFF2-40B4-BE49-F238E27FC236}">
                <a16:creationId xmlns:a16="http://schemas.microsoft.com/office/drawing/2014/main" id="{3EB7A15A-6DCC-6A87-6CAA-FCEA570864F0}"/>
              </a:ext>
            </a:extLst>
          </p:cNvPr>
          <p:cNvSpPr txBox="1"/>
          <p:nvPr/>
        </p:nvSpPr>
        <p:spPr>
          <a:xfrm>
            <a:off x="6591170" y="3648635"/>
            <a:ext cx="1000595" cy="2539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Demand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6" name="Textfeld 405">
            <a:extLst>
              <a:ext uri="{FF2B5EF4-FFF2-40B4-BE49-F238E27FC236}">
                <a16:creationId xmlns:a16="http://schemas.microsoft.com/office/drawing/2014/main" id="{993620FA-77FD-E952-3D15-2808E7996605}"/>
              </a:ext>
            </a:extLst>
          </p:cNvPr>
          <p:cNvSpPr txBox="1"/>
          <p:nvPr/>
        </p:nvSpPr>
        <p:spPr>
          <a:xfrm>
            <a:off x="3780795" y="3620289"/>
            <a:ext cx="2204940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Planned Production Output [</a:t>
            </a:r>
            <a:r>
              <a:rPr lang="de-DE" sz="1050" dirty="0" err="1">
                <a:solidFill>
                  <a:schemeClr val="bg1"/>
                </a:solidFill>
                <a:latin typeface="Aptos" panose="02110004020202020204"/>
              </a:rPr>
              <a:t>day</a:t>
            </a:r>
            <a:r>
              <a:rPr lang="de-DE" sz="1050" dirty="0">
                <a:solidFill>
                  <a:schemeClr val="bg1"/>
                </a:solidFill>
                <a:latin typeface="Aptos" panose="02110004020202020204"/>
              </a:rPr>
              <a:t>]</a:t>
            </a:r>
            <a:endParaRPr lang="de-DE" sz="2400" dirty="0">
              <a:solidFill>
                <a:schemeClr val="bg1"/>
              </a:solidFill>
              <a:latin typeface="Aptos" panose="02110004020202020204"/>
            </a:endParaRPr>
          </a:p>
        </p:txBody>
      </p:sp>
      <p:sp>
        <p:nvSpPr>
          <p:cNvPr id="407" name="Pfeil: nach links und rechts 406">
            <a:extLst>
              <a:ext uri="{FF2B5EF4-FFF2-40B4-BE49-F238E27FC236}">
                <a16:creationId xmlns:a16="http://schemas.microsoft.com/office/drawing/2014/main" id="{FC7C1A05-9BFE-ED89-4A2B-BDF0B8658AB3}"/>
              </a:ext>
            </a:extLst>
          </p:cNvPr>
          <p:cNvSpPr/>
          <p:nvPr/>
        </p:nvSpPr>
        <p:spPr>
          <a:xfrm>
            <a:off x="5827430" y="3739945"/>
            <a:ext cx="717549" cy="325211"/>
          </a:xfrm>
          <a:prstGeom prst="leftRightArrow">
            <a:avLst/>
          </a:prstGeom>
          <a:solidFill>
            <a:schemeClr val="bg1">
              <a:lumMod val="75000"/>
            </a:scheme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08" name="Rechteck: abgerundete Ecken 407">
            <a:extLst>
              <a:ext uri="{FF2B5EF4-FFF2-40B4-BE49-F238E27FC236}">
                <a16:creationId xmlns:a16="http://schemas.microsoft.com/office/drawing/2014/main" id="{139973D0-1212-1FE0-402B-D872DB3485C3}"/>
              </a:ext>
            </a:extLst>
          </p:cNvPr>
          <p:cNvSpPr/>
          <p:nvPr/>
        </p:nvSpPr>
        <p:spPr>
          <a:xfrm>
            <a:off x="4828620" y="3105039"/>
            <a:ext cx="2709870" cy="38417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th PURIS Data</a:t>
            </a:r>
          </a:p>
        </p:txBody>
      </p:sp>
      <p:sp>
        <p:nvSpPr>
          <p:cNvPr id="409" name="Pfeil: nach rechts 408">
            <a:extLst>
              <a:ext uri="{FF2B5EF4-FFF2-40B4-BE49-F238E27FC236}">
                <a16:creationId xmlns:a16="http://schemas.microsoft.com/office/drawing/2014/main" id="{9B189228-11C6-2EBA-EF8B-A3C1887018CC}"/>
              </a:ext>
            </a:extLst>
          </p:cNvPr>
          <p:cNvSpPr/>
          <p:nvPr/>
        </p:nvSpPr>
        <p:spPr>
          <a:xfrm flipH="1">
            <a:off x="5098601" y="4496186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all</a:t>
            </a:r>
            <a:r>
              <a:rPr lang="de-DE" sz="16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-off</a:t>
            </a:r>
          </a:p>
        </p:txBody>
      </p:sp>
      <p:sp>
        <p:nvSpPr>
          <p:cNvPr id="410" name="Pfeil: nach rechts 409">
            <a:extLst>
              <a:ext uri="{FF2B5EF4-FFF2-40B4-BE49-F238E27FC236}">
                <a16:creationId xmlns:a16="http://schemas.microsoft.com/office/drawing/2014/main" id="{32F421C8-8AF0-2E62-5475-1AC261E71DE1}"/>
              </a:ext>
            </a:extLst>
          </p:cNvPr>
          <p:cNvSpPr/>
          <p:nvPr/>
        </p:nvSpPr>
        <p:spPr>
          <a:xfrm>
            <a:off x="5145496" y="5140343"/>
            <a:ext cx="1970668" cy="554610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Delivery</a:t>
            </a:r>
            <a:endParaRPr lang="de-DE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pSp>
        <p:nvGrpSpPr>
          <p:cNvPr id="411" name="Gruppieren 410">
            <a:extLst>
              <a:ext uri="{FF2B5EF4-FFF2-40B4-BE49-F238E27FC236}">
                <a16:creationId xmlns:a16="http://schemas.microsoft.com/office/drawing/2014/main" id="{75EF37AD-DDB5-7247-C9B9-694E4123B3B8}"/>
              </a:ext>
            </a:extLst>
          </p:cNvPr>
          <p:cNvGrpSpPr/>
          <p:nvPr/>
        </p:nvGrpSpPr>
        <p:grpSpPr>
          <a:xfrm>
            <a:off x="4572634" y="5240639"/>
            <a:ext cx="518695" cy="403831"/>
            <a:chOff x="2166341" y="2728576"/>
            <a:chExt cx="1119421" cy="820771"/>
          </a:xfrm>
          <a:solidFill>
            <a:schemeClr val="bg1"/>
          </a:solidFill>
        </p:grpSpPr>
        <p:pic>
          <p:nvPicPr>
            <p:cNvPr id="412" name="Grafik 411" descr="LKW Silhouette">
              <a:extLst>
                <a:ext uri="{FF2B5EF4-FFF2-40B4-BE49-F238E27FC236}">
                  <a16:creationId xmlns:a16="http://schemas.microsoft.com/office/drawing/2014/main" id="{773FAD22-99BF-A639-B025-15EEB63051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66341" y="2728576"/>
              <a:ext cx="1119421" cy="820771"/>
            </a:xfrm>
            <a:prstGeom prst="rect">
              <a:avLst/>
            </a:prstGeom>
          </p:spPr>
        </p:pic>
        <p:grpSp>
          <p:nvGrpSpPr>
            <p:cNvPr id="413" name="Gruppieren 412">
              <a:extLst>
                <a:ext uri="{FF2B5EF4-FFF2-40B4-BE49-F238E27FC236}">
                  <a16:creationId xmlns:a16="http://schemas.microsoft.com/office/drawing/2014/main" id="{8DDDB865-C669-D9C6-321E-00A71B8EFFF0}"/>
                </a:ext>
              </a:extLst>
            </p:cNvPr>
            <p:cNvGrpSpPr/>
            <p:nvPr/>
          </p:nvGrpSpPr>
          <p:grpSpPr>
            <a:xfrm>
              <a:off x="2277035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9" name="Rechteck 428">
                <a:extLst>
                  <a:ext uri="{FF2B5EF4-FFF2-40B4-BE49-F238E27FC236}">
                    <a16:creationId xmlns:a16="http://schemas.microsoft.com/office/drawing/2014/main" id="{DAF2036F-223A-D315-C3B6-A6F7046724D1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0" name="Rechteck 429">
                <a:extLst>
                  <a:ext uri="{FF2B5EF4-FFF2-40B4-BE49-F238E27FC236}">
                    <a16:creationId xmlns:a16="http://schemas.microsoft.com/office/drawing/2014/main" id="{8BE8BFEF-C12B-F8CD-BB04-78323585BCA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31" name="Rechteck 430">
                <a:extLst>
                  <a:ext uri="{FF2B5EF4-FFF2-40B4-BE49-F238E27FC236}">
                    <a16:creationId xmlns:a16="http://schemas.microsoft.com/office/drawing/2014/main" id="{B3800988-2F51-CEFB-9500-D1626C5B1A7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32" name="Gerader Verbinder 431">
                <a:extLst>
                  <a:ext uri="{FF2B5EF4-FFF2-40B4-BE49-F238E27FC236}">
                    <a16:creationId xmlns:a16="http://schemas.microsoft.com/office/drawing/2014/main" id="{0555C074-6643-726C-24DE-73084E0453AF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4" name="Gruppieren 413">
              <a:extLst>
                <a:ext uri="{FF2B5EF4-FFF2-40B4-BE49-F238E27FC236}">
                  <a16:creationId xmlns:a16="http://schemas.microsoft.com/office/drawing/2014/main" id="{DF5F4A16-F363-32C7-DE95-E9CAFC946C8E}"/>
                </a:ext>
              </a:extLst>
            </p:cNvPr>
            <p:cNvGrpSpPr/>
            <p:nvPr/>
          </p:nvGrpSpPr>
          <p:grpSpPr>
            <a:xfrm>
              <a:off x="2419910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5" name="Rechteck 424">
                <a:extLst>
                  <a:ext uri="{FF2B5EF4-FFF2-40B4-BE49-F238E27FC236}">
                    <a16:creationId xmlns:a16="http://schemas.microsoft.com/office/drawing/2014/main" id="{A15569A4-F939-4135-2564-576BF3BDB56A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6" name="Rechteck 425">
                <a:extLst>
                  <a:ext uri="{FF2B5EF4-FFF2-40B4-BE49-F238E27FC236}">
                    <a16:creationId xmlns:a16="http://schemas.microsoft.com/office/drawing/2014/main" id="{4CB34BD2-855E-6E0F-5864-0E14D35AECAE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7" name="Rechteck 426">
                <a:extLst>
                  <a:ext uri="{FF2B5EF4-FFF2-40B4-BE49-F238E27FC236}">
                    <a16:creationId xmlns:a16="http://schemas.microsoft.com/office/drawing/2014/main" id="{DDD38328-393E-A91D-DD82-01056F3E4F3B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8" name="Gerader Verbinder 427">
                <a:extLst>
                  <a:ext uri="{FF2B5EF4-FFF2-40B4-BE49-F238E27FC236}">
                    <a16:creationId xmlns:a16="http://schemas.microsoft.com/office/drawing/2014/main" id="{66ADF5CF-45E9-F76B-89AE-7508FFA46AB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5" name="Gruppieren 414">
              <a:extLst>
                <a:ext uri="{FF2B5EF4-FFF2-40B4-BE49-F238E27FC236}">
                  <a16:creationId xmlns:a16="http://schemas.microsoft.com/office/drawing/2014/main" id="{5A514C7E-2B20-8617-3A81-7728B27C7CF2}"/>
                </a:ext>
              </a:extLst>
            </p:cNvPr>
            <p:cNvGrpSpPr/>
            <p:nvPr/>
          </p:nvGrpSpPr>
          <p:grpSpPr>
            <a:xfrm>
              <a:off x="2570488" y="297506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21" name="Rechteck 420">
                <a:extLst>
                  <a:ext uri="{FF2B5EF4-FFF2-40B4-BE49-F238E27FC236}">
                    <a16:creationId xmlns:a16="http://schemas.microsoft.com/office/drawing/2014/main" id="{0D9CBD49-B200-4B52-D3E3-0B81ABCACD48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2" name="Rechteck 421">
                <a:extLst>
                  <a:ext uri="{FF2B5EF4-FFF2-40B4-BE49-F238E27FC236}">
                    <a16:creationId xmlns:a16="http://schemas.microsoft.com/office/drawing/2014/main" id="{30472392-8DC6-7423-E219-4A08C0AB3ABC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23" name="Rechteck 422">
                <a:extLst>
                  <a:ext uri="{FF2B5EF4-FFF2-40B4-BE49-F238E27FC236}">
                    <a16:creationId xmlns:a16="http://schemas.microsoft.com/office/drawing/2014/main" id="{ABB6B46A-88B1-3C3C-12DB-164D8FA56DE8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4" name="Gerader Verbinder 423">
                <a:extLst>
                  <a:ext uri="{FF2B5EF4-FFF2-40B4-BE49-F238E27FC236}">
                    <a16:creationId xmlns:a16="http://schemas.microsoft.com/office/drawing/2014/main" id="{96E2FF1C-4EA2-C855-BBE6-1CBD6E5506D5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  <p:grpSp>
          <p:nvGrpSpPr>
            <p:cNvPr id="416" name="Gruppieren 415">
              <a:extLst>
                <a:ext uri="{FF2B5EF4-FFF2-40B4-BE49-F238E27FC236}">
                  <a16:creationId xmlns:a16="http://schemas.microsoft.com/office/drawing/2014/main" id="{11357410-D2AD-42E2-3919-EDA64E5FB96D}"/>
                </a:ext>
              </a:extLst>
            </p:cNvPr>
            <p:cNvGrpSpPr/>
            <p:nvPr/>
          </p:nvGrpSpPr>
          <p:grpSpPr>
            <a:xfrm>
              <a:off x="2735851" y="2978814"/>
              <a:ext cx="119984" cy="163897"/>
              <a:chOff x="9986041" y="1674428"/>
              <a:chExt cx="188780" cy="232747"/>
            </a:xfrm>
            <a:grpFill/>
          </p:grpSpPr>
          <p:sp>
            <p:nvSpPr>
              <p:cNvPr id="417" name="Rechteck 416">
                <a:extLst>
                  <a:ext uri="{FF2B5EF4-FFF2-40B4-BE49-F238E27FC236}">
                    <a16:creationId xmlns:a16="http://schemas.microsoft.com/office/drawing/2014/main" id="{7D1BC9B0-C4CB-97D0-FA52-42DDEC68996F}"/>
                  </a:ext>
                </a:extLst>
              </p:cNvPr>
              <p:cNvSpPr/>
              <p:nvPr/>
            </p:nvSpPr>
            <p:spPr>
              <a:xfrm>
                <a:off x="9986041" y="1674428"/>
                <a:ext cx="188780" cy="17698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8" name="Rechteck 417">
                <a:extLst>
                  <a:ext uri="{FF2B5EF4-FFF2-40B4-BE49-F238E27FC236}">
                    <a16:creationId xmlns:a16="http://schemas.microsoft.com/office/drawing/2014/main" id="{D5A1A7D3-EBF1-7AD1-9061-D11E668632E9}"/>
                  </a:ext>
                </a:extLst>
              </p:cNvPr>
              <p:cNvSpPr/>
              <p:nvPr/>
            </p:nvSpPr>
            <p:spPr>
              <a:xfrm>
                <a:off x="9986041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sp>
            <p:nvSpPr>
              <p:cNvPr id="419" name="Rechteck 418">
                <a:extLst>
                  <a:ext uri="{FF2B5EF4-FFF2-40B4-BE49-F238E27FC236}">
                    <a16:creationId xmlns:a16="http://schemas.microsoft.com/office/drawing/2014/main" id="{207C73B6-35C2-C9B5-3460-CD1147F68699}"/>
                  </a:ext>
                </a:extLst>
              </p:cNvPr>
              <p:cNvSpPr/>
              <p:nvPr/>
            </p:nvSpPr>
            <p:spPr>
              <a:xfrm>
                <a:off x="10129102" y="1861456"/>
                <a:ext cx="45719" cy="45719"/>
              </a:xfrm>
              <a:prstGeom prst="rect">
                <a:avLst/>
              </a:prstGeom>
              <a:grpFill/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lIns="216000" tIns="216000" rIns="216000" bIns="216000" rtlCol="0" anchor="t"/>
              <a:lstStyle/>
              <a:p>
                <a:pPr marL="0" marR="0" lvl="0" indent="0" defTabSz="4320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endParaRPr>
              </a:p>
            </p:txBody>
          </p:sp>
          <p:cxnSp>
            <p:nvCxnSpPr>
              <p:cNvPr id="420" name="Gerader Verbinder 419">
                <a:extLst>
                  <a:ext uri="{FF2B5EF4-FFF2-40B4-BE49-F238E27FC236}">
                    <a16:creationId xmlns:a16="http://schemas.microsoft.com/office/drawing/2014/main" id="{CA2B6264-05CA-8299-479D-79BB784CA803}"/>
                  </a:ext>
                </a:extLst>
              </p:cNvPr>
              <p:cNvCxnSpPr/>
              <p:nvPr/>
            </p:nvCxnSpPr>
            <p:spPr>
              <a:xfrm>
                <a:off x="9986041" y="1856962"/>
                <a:ext cx="188780" cy="0"/>
              </a:xfrm>
              <a:prstGeom prst="lin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</p:spPr>
          </p:cxnSp>
        </p:grp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16E5BA09-BED4-ACED-1102-D515E4D6540B}"/>
              </a:ext>
            </a:extLst>
          </p:cNvPr>
          <p:cNvSpPr txBox="1"/>
          <p:nvPr/>
        </p:nvSpPr>
        <p:spPr>
          <a:xfrm>
            <a:off x="3901369" y="5866411"/>
            <a:ext cx="365157" cy="365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Time</a:t>
            </a:r>
            <a:endParaRPr lang="de-DE" dirty="0">
              <a:solidFill>
                <a:schemeClr val="bg1">
                  <a:lumMod val="9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" name="Pfeil: nach unten 6">
            <a:extLst>
              <a:ext uri="{FF2B5EF4-FFF2-40B4-BE49-F238E27FC236}">
                <a16:creationId xmlns:a16="http://schemas.microsoft.com/office/drawing/2014/main" id="{8DC4D0E5-38CE-67D9-5D7D-9AF0C96BB9FB}"/>
              </a:ext>
            </a:extLst>
          </p:cNvPr>
          <p:cNvSpPr/>
          <p:nvPr/>
        </p:nvSpPr>
        <p:spPr>
          <a:xfrm>
            <a:off x="841440" y="5537640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8" name="Geschweifte Klammer links 7">
            <a:extLst>
              <a:ext uri="{FF2B5EF4-FFF2-40B4-BE49-F238E27FC236}">
                <a16:creationId xmlns:a16="http://schemas.microsoft.com/office/drawing/2014/main" id="{4DAB886F-5D44-B538-DCA6-390CC84FA80D}"/>
              </a:ext>
            </a:extLst>
          </p:cNvPr>
          <p:cNvSpPr/>
          <p:nvPr/>
        </p:nvSpPr>
        <p:spPr>
          <a:xfrm>
            <a:off x="1035300" y="5451176"/>
            <a:ext cx="70083" cy="3580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: nach unten 11">
            <a:extLst>
              <a:ext uri="{FF2B5EF4-FFF2-40B4-BE49-F238E27FC236}">
                <a16:creationId xmlns:a16="http://schemas.microsoft.com/office/drawing/2014/main" id="{BF7ACCED-81EE-FE70-AC71-A987A9FC1181}"/>
              </a:ext>
            </a:extLst>
          </p:cNvPr>
          <p:cNvSpPr/>
          <p:nvPr/>
        </p:nvSpPr>
        <p:spPr>
          <a:xfrm>
            <a:off x="8018047" y="5451176"/>
            <a:ext cx="157832" cy="254523"/>
          </a:xfrm>
          <a:prstGeom prst="downArrow">
            <a:avLst/>
          </a:prstGeom>
          <a:solidFill>
            <a:schemeClr val="accent2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" name="Geschweifte Klammer links 12">
            <a:extLst>
              <a:ext uri="{FF2B5EF4-FFF2-40B4-BE49-F238E27FC236}">
                <a16:creationId xmlns:a16="http://schemas.microsoft.com/office/drawing/2014/main" id="{2CA98622-AB73-66DD-1678-E0C26E72E919}"/>
              </a:ext>
            </a:extLst>
          </p:cNvPr>
          <p:cNvSpPr/>
          <p:nvPr/>
        </p:nvSpPr>
        <p:spPr>
          <a:xfrm>
            <a:off x="8213692" y="5340727"/>
            <a:ext cx="63861" cy="429131"/>
          </a:xfrm>
          <a:prstGeom prst="lef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4" descr="Umschlag öffnen Silhouette">
            <a:extLst>
              <a:ext uri="{FF2B5EF4-FFF2-40B4-BE49-F238E27FC236}">
                <a16:creationId xmlns:a16="http://schemas.microsoft.com/office/drawing/2014/main" id="{04F8E637-65DC-04F6-B25F-2BD6B1E26E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67903" y="1081280"/>
            <a:ext cx="317702" cy="317702"/>
          </a:xfrm>
          <a:prstGeom prst="rect">
            <a:avLst/>
          </a:prstGeom>
        </p:spPr>
      </p:pic>
      <p:pic>
        <p:nvPicPr>
          <p:cNvPr id="16" name="Grafik 15" descr="Umschlag öffnen Silhouette">
            <a:extLst>
              <a:ext uri="{FF2B5EF4-FFF2-40B4-BE49-F238E27FC236}">
                <a16:creationId xmlns:a16="http://schemas.microsoft.com/office/drawing/2014/main" id="{407D32FC-12F1-683D-ED84-8919F3CC0A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99262" y="4612252"/>
            <a:ext cx="317702" cy="317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6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C39AD4-A410-122B-B372-767026E88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3BE53F96-996D-DBE4-44EB-829C2E6F0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E53F96-996D-DBE4-44EB-829C2E6F0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3F523F5-47F6-B3FE-411E-37BA5A6C5190}"/>
              </a:ext>
            </a:extLst>
          </p:cNvPr>
          <p:cNvSpPr/>
          <p:nvPr/>
        </p:nvSpPr>
        <p:spPr>
          <a:xfrm>
            <a:off x="0" y="-2296800"/>
            <a:ext cx="12192000" cy="9155575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A92D7E3-5CD1-5D17-E4F1-4D5E497D7377}"/>
              </a:ext>
            </a:extLst>
          </p:cNvPr>
          <p:cNvSpPr/>
          <p:nvPr/>
        </p:nvSpPr>
        <p:spPr>
          <a:xfrm>
            <a:off x="322117" y="1053603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F2A6CD87-BC0C-5CA2-D578-FAB2C871C169}"/>
              </a:ext>
            </a:extLst>
          </p:cNvPr>
          <p:cNvSpPr/>
          <p:nvPr/>
        </p:nvSpPr>
        <p:spPr>
          <a:xfrm>
            <a:off x="617998" y="867866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F185466-1792-3FC4-09E9-CD8B6C8BA488}"/>
              </a:ext>
            </a:extLst>
          </p:cNvPr>
          <p:cNvSpPr/>
          <p:nvPr/>
        </p:nvSpPr>
        <p:spPr>
          <a:xfrm>
            <a:off x="6161413" y="1053603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679B5E9A-0FB3-68E1-B989-1884D8C78411}"/>
              </a:ext>
            </a:extLst>
          </p:cNvPr>
          <p:cNvSpPr/>
          <p:nvPr/>
        </p:nvSpPr>
        <p:spPr>
          <a:xfrm>
            <a:off x="8552364" y="861516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D0FE85A-6CFA-6F93-4C94-5414F48D4F97}"/>
              </a:ext>
            </a:extLst>
          </p:cNvPr>
          <p:cNvSpPr/>
          <p:nvPr/>
        </p:nvSpPr>
        <p:spPr>
          <a:xfrm>
            <a:off x="3809341" y="1512127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02E8FB9C-EF5E-B211-8645-0A2BCDA1758E}"/>
              </a:ext>
            </a:extLst>
          </p:cNvPr>
          <p:cNvSpPr/>
          <p:nvPr/>
        </p:nvSpPr>
        <p:spPr>
          <a:xfrm>
            <a:off x="4075922" y="3553611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57F5D65-8AEC-557B-ACB4-14EE975594DE}"/>
              </a:ext>
            </a:extLst>
          </p:cNvPr>
          <p:cNvSpPr/>
          <p:nvPr/>
        </p:nvSpPr>
        <p:spPr>
          <a:xfrm>
            <a:off x="1849157" y="2533351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A25DF0F-204B-BEF4-E808-0C40568F646D}"/>
              </a:ext>
            </a:extLst>
          </p:cNvPr>
          <p:cNvSpPr/>
          <p:nvPr/>
        </p:nvSpPr>
        <p:spPr>
          <a:xfrm>
            <a:off x="2711804" y="35545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A8AE1EE-644D-FA9B-AA58-9015B646D5A2}"/>
              </a:ext>
            </a:extLst>
          </p:cNvPr>
          <p:cNvSpPr/>
          <p:nvPr/>
        </p:nvSpPr>
        <p:spPr>
          <a:xfrm>
            <a:off x="1345139" y="3551879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21CE8CF4-17A9-7B92-BB7C-38D8C99B98D6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27761" y="2698721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B25089B0-6EBB-5C73-9C01-82C6C050C3D2}"/>
              </a:ext>
            </a:extLst>
          </p:cNvPr>
          <p:cNvSpPr/>
          <p:nvPr/>
        </p:nvSpPr>
        <p:spPr>
          <a:xfrm>
            <a:off x="2439302" y="3065061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2CC895E6-321F-CC18-918F-6EED5503AE6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65141" y="1842867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500BE21-8BE9-6438-D41C-F6A31FDA162E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70177" y="2850623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50E5E2D4-83E7-F205-CB71-914A9DD1992D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588459" y="2864091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4F68ED40-5092-7F31-3373-AF3A12EE9FE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37616" y="3214218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C9F44EF6-0CD4-94AF-A27C-56907A1A5DC7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41770" y="3214217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A51500A6-C9E7-7D36-F569-23E083D1EACA}"/>
              </a:ext>
            </a:extLst>
          </p:cNvPr>
          <p:cNvSpPr txBox="1"/>
          <p:nvPr/>
        </p:nvSpPr>
        <p:spPr>
          <a:xfrm>
            <a:off x="3426795" y="2433402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2E4F756-9D69-D6B1-3A44-3DF4136B2625}"/>
              </a:ext>
            </a:extLst>
          </p:cNvPr>
          <p:cNvSpPr txBox="1"/>
          <p:nvPr/>
        </p:nvSpPr>
        <p:spPr>
          <a:xfrm>
            <a:off x="711832" y="3202035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4FE12C79-036C-8ECB-72FB-F0EF0A489F52}"/>
              </a:ext>
            </a:extLst>
          </p:cNvPr>
          <p:cNvSpPr/>
          <p:nvPr/>
        </p:nvSpPr>
        <p:spPr>
          <a:xfrm>
            <a:off x="6666439" y="1511161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C016E2C9-EA22-8FA9-0C3B-3D6B0600B412}"/>
              </a:ext>
            </a:extLst>
          </p:cNvPr>
          <p:cNvSpPr/>
          <p:nvPr/>
        </p:nvSpPr>
        <p:spPr>
          <a:xfrm>
            <a:off x="6928934" y="3553611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68A84A2-DA26-BFA2-D985-73CE2E05D5B4}"/>
              </a:ext>
            </a:extLst>
          </p:cNvPr>
          <p:cNvSpPr/>
          <p:nvPr/>
        </p:nvSpPr>
        <p:spPr>
          <a:xfrm>
            <a:off x="8861367" y="2532386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BC09D8C3-FC91-F31F-1BE0-2201FF2E63CA}"/>
              </a:ext>
            </a:extLst>
          </p:cNvPr>
          <p:cNvSpPr/>
          <p:nvPr/>
        </p:nvSpPr>
        <p:spPr>
          <a:xfrm>
            <a:off x="8303646" y="35584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475A9C86-5C78-120B-E247-20A2B696D21F}"/>
              </a:ext>
            </a:extLst>
          </p:cNvPr>
          <p:cNvSpPr/>
          <p:nvPr/>
        </p:nvSpPr>
        <p:spPr>
          <a:xfrm>
            <a:off x="9678358" y="3558475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49B20DDD-5CC1-D1A0-1C93-9536DEF2F5A1}"/>
              </a:ext>
            </a:extLst>
          </p:cNvPr>
          <p:cNvSpPr/>
          <p:nvPr/>
        </p:nvSpPr>
        <p:spPr>
          <a:xfrm>
            <a:off x="7376407" y="254859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1BC3E1CA-6075-0886-75A9-F511A02DE5FA}"/>
              </a:ext>
            </a:extLst>
          </p:cNvPr>
          <p:cNvSpPr/>
          <p:nvPr/>
        </p:nvSpPr>
        <p:spPr>
          <a:xfrm>
            <a:off x="9451512" y="3059211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DB8F102-2241-DA65-721C-3B3E291BF671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21439" y="1841901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655C7A1-F628-6D6E-701E-AFB78C454564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25564" y="2846913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7B72BB9-8942-AC8E-8CDC-B7C1E861DC55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74721" y="2697756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64E970F9-5D7B-4480-1B55-00812B80C7A4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00669" y="2863126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A7D38BCD-D966-899A-627F-DB905D0AE55C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49826" y="3208368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700ED4B-5388-EFEA-8BC8-9F8CD0ECF9EC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00276" y="3208367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01D484FE-C2FC-1DD9-06DF-63A00E34E622}"/>
              </a:ext>
            </a:extLst>
          </p:cNvPr>
          <p:cNvSpPr txBox="1"/>
          <p:nvPr/>
        </p:nvSpPr>
        <p:spPr>
          <a:xfrm>
            <a:off x="7575687" y="2454579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008D3CE-A140-5A5C-1FA8-513BC87E9557}"/>
              </a:ext>
            </a:extLst>
          </p:cNvPr>
          <p:cNvSpPr txBox="1"/>
          <p:nvPr/>
        </p:nvSpPr>
        <p:spPr>
          <a:xfrm>
            <a:off x="10287900" y="3234282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7A1AB2C5-D410-7D3B-9156-ED6AC35E5A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385667"/>
              </p:ext>
            </p:extLst>
          </p:nvPr>
        </p:nvGraphicFramePr>
        <p:xfrm>
          <a:off x="1323511" y="4469787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86D8C4BE-8BF0-E370-D548-B4090FC49542}"/>
              </a:ext>
            </a:extLst>
          </p:cNvPr>
          <p:cNvGrpSpPr/>
          <p:nvPr/>
        </p:nvGrpSpPr>
        <p:grpSpPr>
          <a:xfrm>
            <a:off x="1816969" y="409183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F38A665C-4CA8-7343-945E-F0B7E313C30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57A34579-53FA-12B8-3197-11D9E2B810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9D694DD9-A4E6-F461-9372-3A0395F7EE16}"/>
              </a:ext>
            </a:extLst>
          </p:cNvPr>
          <p:cNvGrpSpPr/>
          <p:nvPr/>
        </p:nvGrpSpPr>
        <p:grpSpPr>
          <a:xfrm>
            <a:off x="3185096" y="410688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8D6348F5-5FD3-AB6B-5700-F417F5C0183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36596065-A329-8A0E-B67C-C36F296AF9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A1FEA132-8180-4E81-4DE7-7546339FBCD0}"/>
              </a:ext>
            </a:extLst>
          </p:cNvPr>
          <p:cNvGrpSpPr/>
          <p:nvPr/>
        </p:nvGrpSpPr>
        <p:grpSpPr>
          <a:xfrm>
            <a:off x="4546840" y="4092073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59C3E25-43E3-374C-B00E-6435453E0679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8746F87F-5ED1-0F5B-05BA-646817F71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1CD73C79-4E69-43C2-DB71-A558E15BEBFF}"/>
              </a:ext>
            </a:extLst>
          </p:cNvPr>
          <p:cNvGrpSpPr/>
          <p:nvPr/>
        </p:nvGrpSpPr>
        <p:grpSpPr>
          <a:xfrm>
            <a:off x="7402227" y="4083307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BDBF56B0-89F6-73AD-2888-13EEC3297AA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0EFC38E8-E555-65CB-E144-A1CB9CAB92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511E8A3D-16E9-8B56-2E54-2634A6CA703E}"/>
              </a:ext>
            </a:extLst>
          </p:cNvPr>
          <p:cNvGrpSpPr/>
          <p:nvPr/>
        </p:nvGrpSpPr>
        <p:grpSpPr>
          <a:xfrm>
            <a:off x="8770354" y="409835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FC67F5E9-08E7-5AAD-AD54-D0FDB0F31B2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647F472C-790E-DEE2-5C80-B968BF4344B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F8E7C5DF-380A-3FB9-4B0B-2412F3043F8B}"/>
              </a:ext>
            </a:extLst>
          </p:cNvPr>
          <p:cNvGrpSpPr/>
          <p:nvPr/>
        </p:nvGrpSpPr>
        <p:grpSpPr>
          <a:xfrm>
            <a:off x="10132098" y="408355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F6CB1E01-1D0C-4081-7652-27CDCD27C4A1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4AE2DFFC-8900-1CAA-4D7F-5EB75DFE7DC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12B5E87-0877-8238-A09A-C7BC93F0670F}"/>
              </a:ext>
            </a:extLst>
          </p:cNvPr>
          <p:cNvSpPr txBox="1"/>
          <p:nvPr/>
        </p:nvSpPr>
        <p:spPr>
          <a:xfrm>
            <a:off x="1274401" y="415595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C59640E-592A-8B44-F728-07A4EDEA4C1F}"/>
              </a:ext>
            </a:extLst>
          </p:cNvPr>
          <p:cNvSpPr txBox="1"/>
          <p:nvPr/>
        </p:nvSpPr>
        <p:spPr>
          <a:xfrm>
            <a:off x="2586239" y="414933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F493E4-5EE4-1241-842C-0662E5B23FBC}"/>
              </a:ext>
            </a:extLst>
          </p:cNvPr>
          <p:cNvSpPr txBox="1"/>
          <p:nvPr/>
        </p:nvSpPr>
        <p:spPr>
          <a:xfrm>
            <a:off x="3971830" y="414933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4693565-E9F7-34F4-7166-D6F01DC3CF25}"/>
              </a:ext>
            </a:extLst>
          </p:cNvPr>
          <p:cNvSpPr txBox="1"/>
          <p:nvPr/>
        </p:nvSpPr>
        <p:spPr>
          <a:xfrm>
            <a:off x="6859659" y="414090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21DB92E-7367-1C16-EB6C-03AE9D44A6D6}"/>
              </a:ext>
            </a:extLst>
          </p:cNvPr>
          <p:cNvSpPr txBox="1"/>
          <p:nvPr/>
        </p:nvSpPr>
        <p:spPr>
          <a:xfrm>
            <a:off x="8154226" y="4155950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2385350F-871D-4D90-E625-DA50D733706F}"/>
              </a:ext>
            </a:extLst>
          </p:cNvPr>
          <p:cNvSpPr txBox="1"/>
          <p:nvPr/>
        </p:nvSpPr>
        <p:spPr>
          <a:xfrm>
            <a:off x="9501993" y="418144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DD474458-AAFA-7E56-9186-2457622F949F}"/>
              </a:ext>
            </a:extLst>
          </p:cNvPr>
          <p:cNvSpPr/>
          <p:nvPr/>
        </p:nvSpPr>
        <p:spPr>
          <a:xfrm>
            <a:off x="4521020" y="2552309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86C3F215-4024-A7F6-3354-561B52C37687}"/>
              </a:ext>
            </a:extLst>
          </p:cNvPr>
          <p:cNvSpPr/>
          <p:nvPr/>
        </p:nvSpPr>
        <p:spPr>
          <a:xfrm rot="5400000">
            <a:off x="1301535" y="4611898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DE30823E-88D6-8071-37C4-30CFC40BDCD3}"/>
              </a:ext>
            </a:extLst>
          </p:cNvPr>
          <p:cNvSpPr/>
          <p:nvPr/>
        </p:nvSpPr>
        <p:spPr>
          <a:xfrm>
            <a:off x="6955692" y="5451694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5234AAD0-E2C1-6AE5-0C33-0697683FB1C0}"/>
              </a:ext>
            </a:extLst>
          </p:cNvPr>
          <p:cNvSpPr/>
          <p:nvPr/>
        </p:nvSpPr>
        <p:spPr>
          <a:xfrm>
            <a:off x="140664" y="3488198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0471C2EA-C539-41D3-618D-2F6BD04544F7}"/>
              </a:ext>
            </a:extLst>
          </p:cNvPr>
          <p:cNvSpPr/>
          <p:nvPr/>
        </p:nvSpPr>
        <p:spPr>
          <a:xfrm>
            <a:off x="11729325" y="3558475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3FBCCE66-3D88-1A59-D5DB-920B5C5E16D1}"/>
              </a:ext>
            </a:extLst>
          </p:cNvPr>
          <p:cNvSpPr/>
          <p:nvPr/>
        </p:nvSpPr>
        <p:spPr>
          <a:xfrm>
            <a:off x="90382" y="826001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E3DB3A79-8CC5-8B2D-69F2-4E131A12AEAF}"/>
              </a:ext>
            </a:extLst>
          </p:cNvPr>
          <p:cNvSpPr/>
          <p:nvPr/>
        </p:nvSpPr>
        <p:spPr>
          <a:xfrm>
            <a:off x="11757543" y="878264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5158B2EB-8439-2B9B-A4D1-9F45CEA4B123}"/>
              </a:ext>
            </a:extLst>
          </p:cNvPr>
          <p:cNvSpPr/>
          <p:nvPr/>
        </p:nvSpPr>
        <p:spPr>
          <a:xfrm>
            <a:off x="5929678" y="416389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051344B7-2505-8915-5DE4-2A889DEE8D74}"/>
              </a:ext>
            </a:extLst>
          </p:cNvPr>
          <p:cNvSpPr/>
          <p:nvPr/>
        </p:nvSpPr>
        <p:spPr>
          <a:xfrm>
            <a:off x="152533" y="491777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AA658459-2C34-C09B-6BB9-BEB4CCEF5603}"/>
              </a:ext>
            </a:extLst>
          </p:cNvPr>
          <p:cNvSpPr/>
          <p:nvPr/>
        </p:nvSpPr>
        <p:spPr>
          <a:xfrm>
            <a:off x="11705292" y="4917779"/>
            <a:ext cx="384175" cy="3841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4</a:t>
            </a:r>
          </a:p>
        </p:txBody>
      </p: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54C436F7-8E9D-E41A-EF75-DD628DB4AFCB}"/>
              </a:ext>
            </a:extLst>
          </p:cNvPr>
          <p:cNvCxnSpPr>
            <a:cxnSpLocks/>
          </p:cNvCxnSpPr>
          <p:nvPr/>
        </p:nvCxnSpPr>
        <p:spPr>
          <a:xfrm>
            <a:off x="322117" y="639835"/>
            <a:ext cx="1162751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" name="Grafik 132">
            <a:extLst>
              <a:ext uri="{FF2B5EF4-FFF2-40B4-BE49-F238E27FC236}">
                <a16:creationId xmlns:a16="http://schemas.microsoft.com/office/drawing/2014/main" id="{4091014E-9056-647A-270D-D79459ABBF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50437" y="-2089607"/>
            <a:ext cx="5572259" cy="2657539"/>
          </a:xfrm>
          <a:prstGeom prst="rect">
            <a:avLst/>
          </a:prstGeom>
        </p:spPr>
      </p:pic>
      <p:sp>
        <p:nvSpPr>
          <p:cNvPr id="134" name="Textfeld 133">
            <a:extLst>
              <a:ext uri="{FF2B5EF4-FFF2-40B4-BE49-F238E27FC236}">
                <a16:creationId xmlns:a16="http://schemas.microsoft.com/office/drawing/2014/main" id="{F4725238-D510-0C6E-EE01-5C976A6AEDA7}"/>
              </a:ext>
            </a:extLst>
          </p:cNvPr>
          <p:cNvSpPr txBox="1"/>
          <p:nvPr/>
        </p:nvSpPr>
        <p:spPr>
          <a:xfrm>
            <a:off x="1613490" y="458056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02853191-CA11-31C9-7376-13B1BC5AAF1B}"/>
              </a:ext>
            </a:extLst>
          </p:cNvPr>
          <p:cNvSpPr txBox="1"/>
          <p:nvPr/>
        </p:nvSpPr>
        <p:spPr>
          <a:xfrm>
            <a:off x="1607722" y="5056232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C7D492F6-2240-FA03-D56A-E7B3F7192D6F}"/>
              </a:ext>
            </a:extLst>
          </p:cNvPr>
          <p:cNvSpPr txBox="1"/>
          <p:nvPr/>
        </p:nvSpPr>
        <p:spPr>
          <a:xfrm>
            <a:off x="2943647" y="503804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25F31C18-C245-470C-663F-590082EA3C5C}"/>
              </a:ext>
            </a:extLst>
          </p:cNvPr>
          <p:cNvSpPr txBox="1"/>
          <p:nvPr/>
        </p:nvSpPr>
        <p:spPr>
          <a:xfrm>
            <a:off x="2933059" y="4600476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42902CA6-B10E-EFD3-6A26-85A40000CCEF}"/>
              </a:ext>
            </a:extLst>
          </p:cNvPr>
          <p:cNvSpPr txBox="1"/>
          <p:nvPr/>
        </p:nvSpPr>
        <p:spPr>
          <a:xfrm>
            <a:off x="7240144" y="4585996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A326178-3EFD-2700-C0C1-C3B1A6867C8F}"/>
              </a:ext>
            </a:extLst>
          </p:cNvPr>
          <p:cNvSpPr txBox="1"/>
          <p:nvPr/>
        </p:nvSpPr>
        <p:spPr>
          <a:xfrm>
            <a:off x="8651435" y="4571160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EA23BBDB-6816-9180-E027-BCE259D3871F}"/>
              </a:ext>
            </a:extLst>
          </p:cNvPr>
          <p:cNvSpPr/>
          <p:nvPr/>
        </p:nvSpPr>
        <p:spPr>
          <a:xfrm rot="5400000">
            <a:off x="1304480" y="507476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BFD72A04-4353-DE3C-00E3-57A3F7231B48}"/>
              </a:ext>
            </a:extLst>
          </p:cNvPr>
          <p:cNvSpPr/>
          <p:nvPr/>
        </p:nvSpPr>
        <p:spPr>
          <a:xfrm rot="5400000">
            <a:off x="2608437" y="461728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1978BF9D-BCF1-67AE-130E-1F8231646C29}"/>
              </a:ext>
            </a:extLst>
          </p:cNvPr>
          <p:cNvSpPr/>
          <p:nvPr/>
        </p:nvSpPr>
        <p:spPr>
          <a:xfrm rot="5400000">
            <a:off x="2605230" y="505972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D8377217-CC7B-C387-6F26-AA92529286B0}"/>
              </a:ext>
            </a:extLst>
          </p:cNvPr>
          <p:cNvSpPr/>
          <p:nvPr/>
        </p:nvSpPr>
        <p:spPr>
          <a:xfrm rot="5400000">
            <a:off x="6918971" y="460788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B9657A34-E318-C514-C699-5655CF39CA9C}"/>
              </a:ext>
            </a:extLst>
          </p:cNvPr>
          <p:cNvSpPr/>
          <p:nvPr/>
        </p:nvSpPr>
        <p:spPr>
          <a:xfrm rot="5400000">
            <a:off x="8221415" y="4613656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2F2FF75D-8A9A-E20A-FCC0-256363C51BF6}"/>
              </a:ext>
            </a:extLst>
          </p:cNvPr>
          <p:cNvSpPr/>
          <p:nvPr/>
        </p:nvSpPr>
        <p:spPr>
          <a:xfrm rot="5400000">
            <a:off x="8221415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00774ACC-1FF0-D955-D83F-588D69F38048}"/>
              </a:ext>
            </a:extLst>
          </p:cNvPr>
          <p:cNvSpPr/>
          <p:nvPr/>
        </p:nvSpPr>
        <p:spPr>
          <a:xfrm rot="5400000">
            <a:off x="8358750" y="508176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BD1996C7-DD36-D8E6-8F80-90B40589A777}"/>
              </a:ext>
            </a:extLst>
          </p:cNvPr>
          <p:cNvSpPr/>
          <p:nvPr/>
        </p:nvSpPr>
        <p:spPr>
          <a:xfrm rot="5400000">
            <a:off x="9605322" y="462928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E6C24970-6F2B-31B6-5FF9-E106C685C8C8}"/>
              </a:ext>
            </a:extLst>
          </p:cNvPr>
          <p:cNvSpPr/>
          <p:nvPr/>
        </p:nvSpPr>
        <p:spPr>
          <a:xfrm rot="5400000">
            <a:off x="9738781" y="462928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238B0B10-EC51-9590-957F-87347B37BC4A}"/>
              </a:ext>
            </a:extLst>
          </p:cNvPr>
          <p:cNvSpPr/>
          <p:nvPr/>
        </p:nvSpPr>
        <p:spPr>
          <a:xfrm rot="5400000">
            <a:off x="9589818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A0C66E8A-AB2E-5E39-E344-E45C78EFCD57}"/>
              </a:ext>
            </a:extLst>
          </p:cNvPr>
          <p:cNvSpPr/>
          <p:nvPr/>
        </p:nvSpPr>
        <p:spPr>
          <a:xfrm rot="5400000">
            <a:off x="9727153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D9EAA104-BB3B-40DB-E944-21B6837ED413}"/>
              </a:ext>
            </a:extLst>
          </p:cNvPr>
          <p:cNvSpPr/>
          <p:nvPr/>
        </p:nvSpPr>
        <p:spPr>
          <a:xfrm rot="5400000">
            <a:off x="9864488" y="508104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4D132505-9185-0692-7ECD-595F80EE1DD6}"/>
              </a:ext>
            </a:extLst>
          </p:cNvPr>
          <p:cNvSpPr txBox="1"/>
          <p:nvPr/>
        </p:nvSpPr>
        <p:spPr>
          <a:xfrm>
            <a:off x="10047552" y="4960061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E2228A02-6023-7992-C9E5-9E1559291F0D}"/>
              </a:ext>
            </a:extLst>
          </p:cNvPr>
          <p:cNvSpPr txBox="1"/>
          <p:nvPr/>
        </p:nvSpPr>
        <p:spPr>
          <a:xfrm>
            <a:off x="10010659" y="4516185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EEF0CF98-A4A4-9254-632D-F60426A753D8}"/>
              </a:ext>
            </a:extLst>
          </p:cNvPr>
          <p:cNvSpPr txBox="1"/>
          <p:nvPr/>
        </p:nvSpPr>
        <p:spPr>
          <a:xfrm>
            <a:off x="8576742" y="497662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EB4F9A8A-D056-4647-D414-0479C61162BF}"/>
              </a:ext>
            </a:extLst>
          </p:cNvPr>
          <p:cNvSpPr txBox="1"/>
          <p:nvPr/>
        </p:nvSpPr>
        <p:spPr>
          <a:xfrm>
            <a:off x="7235966" y="547383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CD05DC7-9482-56DC-05DB-4E770AC6D594}"/>
              </a:ext>
            </a:extLst>
          </p:cNvPr>
          <p:cNvSpPr txBox="1"/>
          <p:nvPr/>
        </p:nvSpPr>
        <p:spPr>
          <a:xfrm>
            <a:off x="428703" y="6033722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9B10A5BF-26FD-406A-1038-132C31477A89}"/>
              </a:ext>
            </a:extLst>
          </p:cNvPr>
          <p:cNvSpPr txBox="1"/>
          <p:nvPr/>
        </p:nvSpPr>
        <p:spPr>
          <a:xfrm>
            <a:off x="428703" y="6309305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19C25B8D-9E5A-E4C2-266A-DF74798CC1C9}"/>
              </a:ext>
            </a:extLst>
          </p:cNvPr>
          <p:cNvSpPr txBox="1"/>
          <p:nvPr/>
        </p:nvSpPr>
        <p:spPr>
          <a:xfrm>
            <a:off x="6213682" y="6033722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A7DF9E9F-9EC9-6ECB-70BC-94A785962953}"/>
              </a:ext>
            </a:extLst>
          </p:cNvPr>
          <p:cNvSpPr txBox="1"/>
          <p:nvPr/>
        </p:nvSpPr>
        <p:spPr>
          <a:xfrm>
            <a:off x="6213682" y="6309305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34515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737D23-43C7-016C-5808-85F1C47B72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2865B4B4-27F0-F298-093E-61BFEF6549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65B4B4-27F0-F298-093E-61BFEF654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70B48219-7B46-B414-9556-E80F5D913C0C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1DC184F-581E-657B-F4C3-A379FAAC52A7}"/>
              </a:ext>
            </a:extLst>
          </p:cNvPr>
          <p:cNvSpPr/>
          <p:nvPr/>
        </p:nvSpPr>
        <p:spPr>
          <a:xfrm>
            <a:off x="336000" y="557372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CF61446-29F2-4BBF-35A3-90E4C7AB84C6}"/>
              </a:ext>
            </a:extLst>
          </p:cNvPr>
          <p:cNvSpPr/>
          <p:nvPr/>
        </p:nvSpPr>
        <p:spPr>
          <a:xfrm>
            <a:off x="631881" y="371635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8EE7B8F-6A5D-2277-7A77-50E9752EF061}"/>
              </a:ext>
            </a:extLst>
          </p:cNvPr>
          <p:cNvSpPr/>
          <p:nvPr/>
        </p:nvSpPr>
        <p:spPr>
          <a:xfrm>
            <a:off x="6175296" y="557372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B1E9E3B1-CDE1-82EA-CC6A-E6D40B31C9DC}"/>
              </a:ext>
            </a:extLst>
          </p:cNvPr>
          <p:cNvSpPr/>
          <p:nvPr/>
        </p:nvSpPr>
        <p:spPr>
          <a:xfrm>
            <a:off x="8566247" y="365285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AD819662-94A2-A1CC-8538-17F4B730E9E9}"/>
              </a:ext>
            </a:extLst>
          </p:cNvPr>
          <p:cNvSpPr/>
          <p:nvPr/>
        </p:nvSpPr>
        <p:spPr>
          <a:xfrm>
            <a:off x="3823224" y="1015896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8459E8BE-5AF7-085A-E752-C19622529A00}"/>
              </a:ext>
            </a:extLst>
          </p:cNvPr>
          <p:cNvSpPr/>
          <p:nvPr/>
        </p:nvSpPr>
        <p:spPr>
          <a:xfrm>
            <a:off x="4089805" y="305738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E9DC7A7-D484-83F1-9B2A-B5D230FD37AE}"/>
              </a:ext>
            </a:extLst>
          </p:cNvPr>
          <p:cNvSpPr/>
          <p:nvPr/>
        </p:nvSpPr>
        <p:spPr>
          <a:xfrm>
            <a:off x="1863040" y="2037120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96C499-4A0F-AC91-3336-01B500FA71A4}"/>
              </a:ext>
            </a:extLst>
          </p:cNvPr>
          <p:cNvSpPr/>
          <p:nvPr/>
        </p:nvSpPr>
        <p:spPr>
          <a:xfrm>
            <a:off x="2725687" y="30583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532A3BD-2120-8AF4-C7A0-A3F8AC4DD2FB}"/>
              </a:ext>
            </a:extLst>
          </p:cNvPr>
          <p:cNvSpPr/>
          <p:nvPr/>
        </p:nvSpPr>
        <p:spPr>
          <a:xfrm>
            <a:off x="1359022" y="3055648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D11FFBCE-AA10-D92D-E345-8C49FEC3C97D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41644" y="2202490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F36C5F62-28F9-8CA5-B8CC-01523F70134A}"/>
              </a:ext>
            </a:extLst>
          </p:cNvPr>
          <p:cNvSpPr/>
          <p:nvPr/>
        </p:nvSpPr>
        <p:spPr>
          <a:xfrm>
            <a:off x="2453185" y="2568830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696E00D-640B-27BF-5D62-B7540762BCB8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79024" y="1346636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2EF9C0E-FD8F-3C31-6CF3-AF55908A5FA6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84060" y="2354392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CB0AE89-324F-4C14-69C2-9111A399DE1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02342" y="2367860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D657D501-1E97-1D21-1BC4-79BDE7526396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51499" y="2717987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326E29A2-9F82-00E2-77DD-B3720FD029A1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55653" y="2717986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2862274F-1DAE-231B-BCAD-07F794ED9187}"/>
              </a:ext>
            </a:extLst>
          </p:cNvPr>
          <p:cNvSpPr txBox="1"/>
          <p:nvPr/>
        </p:nvSpPr>
        <p:spPr>
          <a:xfrm>
            <a:off x="3440678" y="1937171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FFFE5D6-3624-FD74-C4F1-BB50BFD4767B}"/>
              </a:ext>
            </a:extLst>
          </p:cNvPr>
          <p:cNvSpPr txBox="1"/>
          <p:nvPr/>
        </p:nvSpPr>
        <p:spPr>
          <a:xfrm>
            <a:off x="725715" y="2705804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F2FEBC7-8E04-4E9D-23C3-1B8EB2B68821}"/>
              </a:ext>
            </a:extLst>
          </p:cNvPr>
          <p:cNvSpPr/>
          <p:nvPr/>
        </p:nvSpPr>
        <p:spPr>
          <a:xfrm>
            <a:off x="6680322" y="1014930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4F1503D7-DC08-D371-C66A-3E401B54C227}"/>
              </a:ext>
            </a:extLst>
          </p:cNvPr>
          <p:cNvSpPr/>
          <p:nvPr/>
        </p:nvSpPr>
        <p:spPr>
          <a:xfrm>
            <a:off x="6942817" y="305738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F24D1C5-F157-9298-62C0-940B87C1184D}"/>
              </a:ext>
            </a:extLst>
          </p:cNvPr>
          <p:cNvSpPr/>
          <p:nvPr/>
        </p:nvSpPr>
        <p:spPr>
          <a:xfrm>
            <a:off x="8875250" y="2036155"/>
            <a:ext cx="1478604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DEC77AB8-2AA2-56F3-67EC-11365CA2F1F9}"/>
              </a:ext>
            </a:extLst>
          </p:cNvPr>
          <p:cNvSpPr/>
          <p:nvPr/>
        </p:nvSpPr>
        <p:spPr>
          <a:xfrm>
            <a:off x="8317529" y="30622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AAD15779-75BF-9ACC-D527-156C79E078E8}"/>
              </a:ext>
            </a:extLst>
          </p:cNvPr>
          <p:cNvSpPr/>
          <p:nvPr/>
        </p:nvSpPr>
        <p:spPr>
          <a:xfrm>
            <a:off x="9692241" y="3062244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076FE298-6ABD-D624-FFD2-BBAE91B1C31B}"/>
              </a:ext>
            </a:extLst>
          </p:cNvPr>
          <p:cNvSpPr/>
          <p:nvPr/>
        </p:nvSpPr>
        <p:spPr>
          <a:xfrm>
            <a:off x="7390290" y="205236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4A0DC700-F4BA-53D4-FC2B-7563D48E2849}"/>
              </a:ext>
            </a:extLst>
          </p:cNvPr>
          <p:cNvSpPr/>
          <p:nvPr/>
        </p:nvSpPr>
        <p:spPr>
          <a:xfrm>
            <a:off x="9465395" y="2562980"/>
            <a:ext cx="298314" cy="298314"/>
          </a:xfrm>
          <a:prstGeom prst="diamon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06DBCD84-71AB-0900-D4FB-657359FCCE23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35322" y="1345670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794F3CBC-FE32-BA7D-5D0E-4A80A94BE277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39447" y="2350682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ACC95E6-4376-F4B6-F481-E1367567484B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88604" y="2201525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45AD8D5F-AC38-345A-68A3-ACC30FDA0319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14552" y="2366895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DCE8B76A-3F5B-602F-B0D3-D26CDE92396E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63709" y="2712137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650C59DA-A924-6436-9FE2-BB8244707278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14159" y="2712136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2397F4B0-B20A-BAD9-23A1-157E78E3F010}"/>
              </a:ext>
            </a:extLst>
          </p:cNvPr>
          <p:cNvSpPr txBox="1"/>
          <p:nvPr/>
        </p:nvSpPr>
        <p:spPr>
          <a:xfrm>
            <a:off x="7589570" y="1958348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7E688344-CF8D-5ED4-5B18-33C733C62BEF}"/>
              </a:ext>
            </a:extLst>
          </p:cNvPr>
          <p:cNvSpPr txBox="1"/>
          <p:nvPr/>
        </p:nvSpPr>
        <p:spPr>
          <a:xfrm>
            <a:off x="10301783" y="2738051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26D9CD31-C48D-118C-26E2-54C1510E42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6464119"/>
              </p:ext>
            </p:extLst>
          </p:nvPr>
        </p:nvGraphicFramePr>
        <p:xfrm>
          <a:off x="1337394" y="3973556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2442C5E-B564-0E52-6796-19C6F94DE7E6}"/>
              </a:ext>
            </a:extLst>
          </p:cNvPr>
          <p:cNvGrpSpPr/>
          <p:nvPr/>
        </p:nvGrpSpPr>
        <p:grpSpPr>
          <a:xfrm>
            <a:off x="1830852" y="359559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276D5C04-AF65-EC88-2421-EB53B02F144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F3B3DBAC-A405-2FD8-9BD0-2C45E1985CB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319123C-A9BB-B321-CF19-5EB45872B6BA}"/>
              </a:ext>
            </a:extLst>
          </p:cNvPr>
          <p:cNvGrpSpPr/>
          <p:nvPr/>
        </p:nvGrpSpPr>
        <p:grpSpPr>
          <a:xfrm>
            <a:off x="3198979" y="3610650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D53BAAF1-F3D1-C25D-0BBC-B4AD7A2D63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5BE66185-1076-85E9-3E93-2393E7F87F4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1A9CCD-B3AF-68CC-8403-E8E872F837BE}"/>
              </a:ext>
            </a:extLst>
          </p:cNvPr>
          <p:cNvGrpSpPr/>
          <p:nvPr/>
        </p:nvGrpSpPr>
        <p:grpSpPr>
          <a:xfrm>
            <a:off x="4560723" y="359584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543C6627-4F63-4929-18CF-3C93D3DA16FD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666B6569-AA99-0575-CDBE-1071EA9CFFA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9AB92382-8B5E-EDB3-D747-771830A6C02A}"/>
              </a:ext>
            </a:extLst>
          </p:cNvPr>
          <p:cNvGrpSpPr/>
          <p:nvPr/>
        </p:nvGrpSpPr>
        <p:grpSpPr>
          <a:xfrm>
            <a:off x="7416110" y="3587076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7436DED6-A2FB-2AEF-8087-5EFDFC864FF2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9963655-4808-2F6A-53B3-93CB93098CB4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4D19711E-CE64-55CB-9286-314CCBC4E34D}"/>
              </a:ext>
            </a:extLst>
          </p:cNvPr>
          <p:cNvGrpSpPr/>
          <p:nvPr/>
        </p:nvGrpSpPr>
        <p:grpSpPr>
          <a:xfrm>
            <a:off x="8784237" y="3602127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E09AE8E1-7931-4CE1-B7FC-BFCAEF0D18B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729DB3D1-7B1E-08CF-DD97-9EA9A89E5B4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D135B13-8AE9-D82A-8816-6F164761B834}"/>
              </a:ext>
            </a:extLst>
          </p:cNvPr>
          <p:cNvGrpSpPr/>
          <p:nvPr/>
        </p:nvGrpSpPr>
        <p:grpSpPr>
          <a:xfrm>
            <a:off x="10145981" y="358731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2BCB2CA3-FC6F-646D-6523-6D33BB4C157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6C51C64C-549A-C7A2-D493-F2446528940B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7140A132-E4C1-4384-B3AC-30E7926A47F5}"/>
              </a:ext>
            </a:extLst>
          </p:cNvPr>
          <p:cNvSpPr txBox="1"/>
          <p:nvPr/>
        </p:nvSpPr>
        <p:spPr>
          <a:xfrm>
            <a:off x="1288284" y="365971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3385098-5AFD-F90B-0A1F-D27562BD45DE}"/>
              </a:ext>
            </a:extLst>
          </p:cNvPr>
          <p:cNvSpPr txBox="1"/>
          <p:nvPr/>
        </p:nvSpPr>
        <p:spPr>
          <a:xfrm>
            <a:off x="2600122" y="365310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D26E70A0-C170-1486-8BED-5CBAE6C1FDDD}"/>
              </a:ext>
            </a:extLst>
          </p:cNvPr>
          <p:cNvSpPr txBox="1"/>
          <p:nvPr/>
        </p:nvSpPr>
        <p:spPr>
          <a:xfrm>
            <a:off x="3985713" y="3653105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DE62B604-B3B6-7586-02E1-7EE3E66AFE2A}"/>
              </a:ext>
            </a:extLst>
          </p:cNvPr>
          <p:cNvSpPr txBox="1"/>
          <p:nvPr/>
        </p:nvSpPr>
        <p:spPr>
          <a:xfrm>
            <a:off x="6873542" y="364466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5E1820F-7B75-6A0C-86C9-82B1BF43C52A}"/>
              </a:ext>
            </a:extLst>
          </p:cNvPr>
          <p:cNvSpPr txBox="1"/>
          <p:nvPr/>
        </p:nvSpPr>
        <p:spPr>
          <a:xfrm>
            <a:off x="8168109" y="3659719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6AB60BC-57EA-2F23-9A0F-5DD976534DA0}"/>
              </a:ext>
            </a:extLst>
          </p:cNvPr>
          <p:cNvSpPr txBox="1"/>
          <p:nvPr/>
        </p:nvSpPr>
        <p:spPr>
          <a:xfrm>
            <a:off x="9515876" y="3685216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44854DBF-833A-E3CB-8888-23FAFAA4EF7E}"/>
              </a:ext>
            </a:extLst>
          </p:cNvPr>
          <p:cNvSpPr/>
          <p:nvPr/>
        </p:nvSpPr>
        <p:spPr>
          <a:xfrm>
            <a:off x="4534903" y="2056078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7DA39DD9-7BD1-AF0F-6471-95742FDABE12}"/>
              </a:ext>
            </a:extLst>
          </p:cNvPr>
          <p:cNvSpPr/>
          <p:nvPr/>
        </p:nvSpPr>
        <p:spPr>
          <a:xfrm rot="5400000">
            <a:off x="1315418" y="411566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5AB2E528-A259-47BF-5A76-467FE719FEB3}"/>
              </a:ext>
            </a:extLst>
          </p:cNvPr>
          <p:cNvSpPr/>
          <p:nvPr/>
        </p:nvSpPr>
        <p:spPr>
          <a:xfrm>
            <a:off x="6969575" y="4955463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B0F98A87-61ED-6BF4-30AA-2FB1DC1D30EA}"/>
              </a:ext>
            </a:extLst>
          </p:cNvPr>
          <p:cNvSpPr txBox="1"/>
          <p:nvPr/>
        </p:nvSpPr>
        <p:spPr>
          <a:xfrm>
            <a:off x="1627373" y="408432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70F3787D-A4F9-95E6-69C0-E1020C627D84}"/>
              </a:ext>
            </a:extLst>
          </p:cNvPr>
          <p:cNvSpPr txBox="1"/>
          <p:nvPr/>
        </p:nvSpPr>
        <p:spPr>
          <a:xfrm>
            <a:off x="1621605" y="456000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77FA06F1-CE4E-975F-1556-D31A1418A24D}"/>
              </a:ext>
            </a:extLst>
          </p:cNvPr>
          <p:cNvSpPr txBox="1"/>
          <p:nvPr/>
        </p:nvSpPr>
        <p:spPr>
          <a:xfrm>
            <a:off x="2957530" y="454180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EDA804D2-1C74-6671-89FD-2886E1F27346}"/>
              </a:ext>
            </a:extLst>
          </p:cNvPr>
          <p:cNvSpPr txBox="1"/>
          <p:nvPr/>
        </p:nvSpPr>
        <p:spPr>
          <a:xfrm>
            <a:off x="2946942" y="4104245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1757E1AE-A965-1A09-08DC-9D43E5B1411C}"/>
              </a:ext>
            </a:extLst>
          </p:cNvPr>
          <p:cNvSpPr txBox="1"/>
          <p:nvPr/>
        </p:nvSpPr>
        <p:spPr>
          <a:xfrm>
            <a:off x="7254027" y="4089765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E311955A-6064-9B4B-BF1E-8065925DA3DD}"/>
              </a:ext>
            </a:extLst>
          </p:cNvPr>
          <p:cNvSpPr txBox="1"/>
          <p:nvPr/>
        </p:nvSpPr>
        <p:spPr>
          <a:xfrm>
            <a:off x="8665318" y="4074929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27FD747E-6052-BBE1-E348-FAC30F7ACC06}"/>
              </a:ext>
            </a:extLst>
          </p:cNvPr>
          <p:cNvSpPr/>
          <p:nvPr/>
        </p:nvSpPr>
        <p:spPr>
          <a:xfrm rot="5400000">
            <a:off x="1318363" y="457853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61B25460-579E-3020-9FE9-5770DC494BC5}"/>
              </a:ext>
            </a:extLst>
          </p:cNvPr>
          <p:cNvSpPr/>
          <p:nvPr/>
        </p:nvSpPr>
        <p:spPr>
          <a:xfrm rot="5400000">
            <a:off x="2622320" y="412105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759C0D14-6543-7574-5581-03763D74BEE6}"/>
              </a:ext>
            </a:extLst>
          </p:cNvPr>
          <p:cNvSpPr/>
          <p:nvPr/>
        </p:nvSpPr>
        <p:spPr>
          <a:xfrm rot="5400000">
            <a:off x="2619113" y="456349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74136BE2-23C5-3FB6-CA56-09D5DB39787C}"/>
              </a:ext>
            </a:extLst>
          </p:cNvPr>
          <p:cNvSpPr/>
          <p:nvPr/>
        </p:nvSpPr>
        <p:spPr>
          <a:xfrm rot="5400000">
            <a:off x="6932854" y="4111650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6991173-A409-52E3-FB10-92D0FB5159CA}"/>
              </a:ext>
            </a:extLst>
          </p:cNvPr>
          <p:cNvSpPr/>
          <p:nvPr/>
        </p:nvSpPr>
        <p:spPr>
          <a:xfrm rot="5400000">
            <a:off x="8235298" y="411742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AE03CDC7-8FFC-866C-B875-FDD5C38E40D4}"/>
              </a:ext>
            </a:extLst>
          </p:cNvPr>
          <p:cNvSpPr/>
          <p:nvPr/>
        </p:nvSpPr>
        <p:spPr>
          <a:xfrm rot="5400000">
            <a:off x="8235298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B2438829-1B93-FA5D-AF6B-552F3A72915F}"/>
              </a:ext>
            </a:extLst>
          </p:cNvPr>
          <p:cNvSpPr/>
          <p:nvPr/>
        </p:nvSpPr>
        <p:spPr>
          <a:xfrm rot="5400000">
            <a:off x="8372633" y="458553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2943390B-B2E9-220A-20DD-BD192AA12498}"/>
              </a:ext>
            </a:extLst>
          </p:cNvPr>
          <p:cNvSpPr/>
          <p:nvPr/>
        </p:nvSpPr>
        <p:spPr>
          <a:xfrm rot="5400000">
            <a:off x="9619205" y="413305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6314A5B3-8E62-0BD7-23B1-1723829A88BD}"/>
              </a:ext>
            </a:extLst>
          </p:cNvPr>
          <p:cNvSpPr/>
          <p:nvPr/>
        </p:nvSpPr>
        <p:spPr>
          <a:xfrm rot="5400000">
            <a:off x="9752664" y="4133053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5DFBB475-D2C8-4E01-EA25-70E357FBA453}"/>
              </a:ext>
            </a:extLst>
          </p:cNvPr>
          <p:cNvSpPr/>
          <p:nvPr/>
        </p:nvSpPr>
        <p:spPr>
          <a:xfrm rot="5400000">
            <a:off x="9603701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C3B7096F-62F7-20FF-A293-7179A78852EC}"/>
              </a:ext>
            </a:extLst>
          </p:cNvPr>
          <p:cNvSpPr/>
          <p:nvPr/>
        </p:nvSpPr>
        <p:spPr>
          <a:xfrm rot="5400000">
            <a:off x="9741036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BA77EFB0-3166-BCF7-9337-F07EA8FFEE4E}"/>
              </a:ext>
            </a:extLst>
          </p:cNvPr>
          <p:cNvSpPr/>
          <p:nvPr/>
        </p:nvSpPr>
        <p:spPr>
          <a:xfrm rot="5400000">
            <a:off x="9878371" y="458480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A80A988A-4A3D-B08A-43F9-FAC255A5CE88}"/>
              </a:ext>
            </a:extLst>
          </p:cNvPr>
          <p:cNvSpPr txBox="1"/>
          <p:nvPr/>
        </p:nvSpPr>
        <p:spPr>
          <a:xfrm>
            <a:off x="10061435" y="4463830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BF86C019-4899-6763-A6A6-437B7F826D72}"/>
              </a:ext>
            </a:extLst>
          </p:cNvPr>
          <p:cNvSpPr txBox="1"/>
          <p:nvPr/>
        </p:nvSpPr>
        <p:spPr>
          <a:xfrm>
            <a:off x="10024542" y="4019954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3B454F61-906D-FF45-E5E3-7CC1FD4D7709}"/>
              </a:ext>
            </a:extLst>
          </p:cNvPr>
          <p:cNvSpPr txBox="1"/>
          <p:nvPr/>
        </p:nvSpPr>
        <p:spPr>
          <a:xfrm>
            <a:off x="8590625" y="4480391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F6A8D31C-78F0-5061-0C9A-26C916A6E64A}"/>
              </a:ext>
            </a:extLst>
          </p:cNvPr>
          <p:cNvSpPr txBox="1"/>
          <p:nvPr/>
        </p:nvSpPr>
        <p:spPr>
          <a:xfrm>
            <a:off x="7249849" y="4977602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9F85E064-8D15-F214-A594-6644643C8EAA}"/>
              </a:ext>
            </a:extLst>
          </p:cNvPr>
          <p:cNvSpPr txBox="1"/>
          <p:nvPr/>
        </p:nvSpPr>
        <p:spPr>
          <a:xfrm>
            <a:off x="442586" y="5537491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A1BBF000-58EC-6DC1-6E78-C7216E0D53BF}"/>
              </a:ext>
            </a:extLst>
          </p:cNvPr>
          <p:cNvSpPr txBox="1"/>
          <p:nvPr/>
        </p:nvSpPr>
        <p:spPr>
          <a:xfrm>
            <a:off x="442586" y="5813074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5A21DB24-00FB-CB3F-1E74-E17EB38E6145}"/>
              </a:ext>
            </a:extLst>
          </p:cNvPr>
          <p:cNvSpPr txBox="1"/>
          <p:nvPr/>
        </p:nvSpPr>
        <p:spPr>
          <a:xfrm>
            <a:off x="6227565" y="5537491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21894622-1C90-2529-33A8-C87129D207E2}"/>
              </a:ext>
            </a:extLst>
          </p:cNvPr>
          <p:cNvSpPr txBox="1"/>
          <p:nvPr/>
        </p:nvSpPr>
        <p:spPr>
          <a:xfrm>
            <a:off x="6227565" y="5813074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2206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E4D8F-C7E6-3CCB-5236-22708C0A46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4F6D048-79EF-C819-6C0A-D9D25CF26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F6D048-79EF-C819-6C0A-D9D25CF26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F3AD766D-28B9-DE8B-4FC1-FB6061F8580E}"/>
              </a:ext>
            </a:extLst>
          </p:cNvPr>
          <p:cNvSpPr/>
          <p:nvPr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33D1AA7-2BB6-79D0-FA68-911A3AA113FF}"/>
              </a:ext>
            </a:extLst>
          </p:cNvPr>
          <p:cNvSpPr/>
          <p:nvPr/>
        </p:nvSpPr>
        <p:spPr>
          <a:xfrm>
            <a:off x="346909" y="55263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8E56AB1-BAEC-E1EF-C0BC-D96C0C1CE4AF}"/>
              </a:ext>
            </a:extLst>
          </p:cNvPr>
          <p:cNvSpPr/>
          <p:nvPr/>
        </p:nvSpPr>
        <p:spPr>
          <a:xfrm>
            <a:off x="642790" y="36689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87996C0-8AA4-4302-7551-BC7F467F2423}"/>
              </a:ext>
            </a:extLst>
          </p:cNvPr>
          <p:cNvSpPr/>
          <p:nvPr/>
        </p:nvSpPr>
        <p:spPr>
          <a:xfrm>
            <a:off x="6186205" y="55263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2B1DDD3-75F2-C55D-0209-EDC6A201B2DB}"/>
              </a:ext>
            </a:extLst>
          </p:cNvPr>
          <p:cNvSpPr/>
          <p:nvPr/>
        </p:nvSpPr>
        <p:spPr>
          <a:xfrm>
            <a:off x="8577156" y="36054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4D52355-53DA-D224-F3E5-12BF49DB2972}"/>
              </a:ext>
            </a:extLst>
          </p:cNvPr>
          <p:cNvSpPr/>
          <p:nvPr/>
        </p:nvSpPr>
        <p:spPr>
          <a:xfrm>
            <a:off x="3834133" y="1011158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1CC98542-E695-A048-CCA6-B9A64E7E7801}"/>
              </a:ext>
            </a:extLst>
          </p:cNvPr>
          <p:cNvSpPr/>
          <p:nvPr/>
        </p:nvSpPr>
        <p:spPr>
          <a:xfrm>
            <a:off x="4100714" y="305264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6D93382D-E541-385D-4B7C-F3BA53D097C2}"/>
              </a:ext>
            </a:extLst>
          </p:cNvPr>
          <p:cNvSpPr/>
          <p:nvPr/>
        </p:nvSpPr>
        <p:spPr>
          <a:xfrm>
            <a:off x="1873949" y="2032382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9CC9F04-E072-75C2-C90F-CEA0D42EFE3F}"/>
              </a:ext>
            </a:extLst>
          </p:cNvPr>
          <p:cNvSpPr/>
          <p:nvPr/>
        </p:nvSpPr>
        <p:spPr>
          <a:xfrm>
            <a:off x="2736596" y="305360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70179FB-4C0C-9FC5-0851-274420606587}"/>
              </a:ext>
            </a:extLst>
          </p:cNvPr>
          <p:cNvSpPr/>
          <p:nvPr/>
        </p:nvSpPr>
        <p:spPr>
          <a:xfrm>
            <a:off x="1369931" y="3050910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845CFAA2-1667-6F6C-EE58-FD39959CDBC8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52553" y="2197752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887DE7FB-3D12-CE54-A9D1-8B8AD4A57836}"/>
              </a:ext>
            </a:extLst>
          </p:cNvPr>
          <p:cNvSpPr/>
          <p:nvPr/>
        </p:nvSpPr>
        <p:spPr>
          <a:xfrm>
            <a:off x="2464094" y="256409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D8867FE-5A63-FBCF-FCC5-CC01B0966A13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89933" y="1341898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7C9599D-8297-EED8-4D66-0A228C490424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94969" y="2349654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2045FB3-0511-C349-C72D-CE1D580322E3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13251" y="2363122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5AB65A1F-3FA4-2B54-83CC-59137BFD4990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62408" y="2713249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E57DCF56-EC94-9DE0-0D5A-0B1BD85B2806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66562" y="2713248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7C80AAC4-BBA1-69E8-9E76-432B133F75CD}"/>
              </a:ext>
            </a:extLst>
          </p:cNvPr>
          <p:cNvSpPr txBox="1"/>
          <p:nvPr/>
        </p:nvSpPr>
        <p:spPr>
          <a:xfrm>
            <a:off x="3451587" y="1932433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A02D0B6-37CC-2548-BC59-5BB042E2E685}"/>
              </a:ext>
            </a:extLst>
          </p:cNvPr>
          <p:cNvSpPr txBox="1"/>
          <p:nvPr/>
        </p:nvSpPr>
        <p:spPr>
          <a:xfrm>
            <a:off x="736624" y="2701066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0D2FB46D-A013-1D2E-D259-B3F23F926CEA}"/>
              </a:ext>
            </a:extLst>
          </p:cNvPr>
          <p:cNvSpPr/>
          <p:nvPr/>
        </p:nvSpPr>
        <p:spPr>
          <a:xfrm>
            <a:off x="6691231" y="1010192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8C9468D0-2538-9A47-542B-996938969EF4}"/>
              </a:ext>
            </a:extLst>
          </p:cNvPr>
          <p:cNvSpPr/>
          <p:nvPr/>
        </p:nvSpPr>
        <p:spPr>
          <a:xfrm>
            <a:off x="6953726" y="305264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705DF5B5-1EBD-3BFA-D063-259E1FAEFB46}"/>
              </a:ext>
            </a:extLst>
          </p:cNvPr>
          <p:cNvSpPr/>
          <p:nvPr/>
        </p:nvSpPr>
        <p:spPr>
          <a:xfrm>
            <a:off x="8886159" y="2031417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45FC23DD-118A-5B21-65B0-50D4232AD7ED}"/>
              </a:ext>
            </a:extLst>
          </p:cNvPr>
          <p:cNvSpPr/>
          <p:nvPr/>
        </p:nvSpPr>
        <p:spPr>
          <a:xfrm>
            <a:off x="8328438" y="305750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70604A18-85FC-0611-D17B-D42FA4BD4637}"/>
              </a:ext>
            </a:extLst>
          </p:cNvPr>
          <p:cNvSpPr/>
          <p:nvPr/>
        </p:nvSpPr>
        <p:spPr>
          <a:xfrm>
            <a:off x="9703150" y="305750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DEBDF0CA-DB6E-CB42-F0D7-1535672D03F9}"/>
              </a:ext>
            </a:extLst>
          </p:cNvPr>
          <p:cNvSpPr/>
          <p:nvPr/>
        </p:nvSpPr>
        <p:spPr>
          <a:xfrm>
            <a:off x="7401199" y="204763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A504C74-CA4B-6C97-8CB0-19551427699E}"/>
              </a:ext>
            </a:extLst>
          </p:cNvPr>
          <p:cNvSpPr/>
          <p:nvPr/>
        </p:nvSpPr>
        <p:spPr>
          <a:xfrm>
            <a:off x="9476304" y="255824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CB78DDD-3D98-F3A7-43B8-4F68F7329225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46231" y="1340932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7C0EB12-4014-27DD-486F-265E450BE9C6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50356" y="2345944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DAEB0BA-1CF9-507D-4829-8A6C96672239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99513" y="2196787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FB4BB418-60D9-9C48-0352-D4E8F660601A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25461" y="2362157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12A2D698-DD12-FEDF-6465-4D8327237C84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74618" y="2707399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8E9025C1-1445-1D59-8473-C72855F67C8E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25068" y="2707398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7D27F04-5B8F-0C6E-B474-4A7202FF53CA}"/>
              </a:ext>
            </a:extLst>
          </p:cNvPr>
          <p:cNvSpPr txBox="1"/>
          <p:nvPr/>
        </p:nvSpPr>
        <p:spPr>
          <a:xfrm>
            <a:off x="7600479" y="1953610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FE8962B-FDE9-8AB5-82AF-69CA7000F43D}"/>
              </a:ext>
            </a:extLst>
          </p:cNvPr>
          <p:cNvSpPr txBox="1"/>
          <p:nvPr/>
        </p:nvSpPr>
        <p:spPr>
          <a:xfrm>
            <a:off x="10312692" y="2733313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B337487F-E602-FE9D-6D67-A8A46D839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0660041"/>
              </p:ext>
            </p:extLst>
          </p:nvPr>
        </p:nvGraphicFramePr>
        <p:xfrm>
          <a:off x="1348303" y="3968818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91EDA8E-240A-3369-3B63-F23BCDC990A9}"/>
              </a:ext>
            </a:extLst>
          </p:cNvPr>
          <p:cNvGrpSpPr/>
          <p:nvPr/>
        </p:nvGrpSpPr>
        <p:grpSpPr>
          <a:xfrm>
            <a:off x="1841761" y="359086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561E1BFF-FE46-5255-9B56-71F2C851B0F6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BB884DBB-D95B-DA85-2EE5-18EAC4A4B615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FBA8C7AF-ECE8-CA14-A510-EE737FAFFBF5}"/>
              </a:ext>
            </a:extLst>
          </p:cNvPr>
          <p:cNvGrpSpPr/>
          <p:nvPr/>
        </p:nvGrpSpPr>
        <p:grpSpPr>
          <a:xfrm>
            <a:off x="3209888" y="360591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2F3A8D79-C27C-0A3B-2179-488FA7FF7FAF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A2C8DF3A-6157-6E36-9ABA-DD2C1D4E20E9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3BCB435-585A-E460-32B6-2C3A16ED4748}"/>
              </a:ext>
            </a:extLst>
          </p:cNvPr>
          <p:cNvGrpSpPr/>
          <p:nvPr/>
        </p:nvGrpSpPr>
        <p:grpSpPr>
          <a:xfrm>
            <a:off x="4571632" y="3591104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0AB9E1C8-2004-71A7-A7A1-544FDB17B06A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1F7D6F66-330A-1476-B93E-06B84DBE370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A806D3B0-0D0B-6532-287A-2B365674CB7C}"/>
              </a:ext>
            </a:extLst>
          </p:cNvPr>
          <p:cNvGrpSpPr/>
          <p:nvPr/>
        </p:nvGrpSpPr>
        <p:grpSpPr>
          <a:xfrm>
            <a:off x="7427019" y="358233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4654836D-829F-5BCE-9CDA-86CA841F3FB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413B1123-3DAE-8989-1BF0-1D04C97449F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201DAC0F-1F28-3547-22F6-2D7C0363D62D}"/>
              </a:ext>
            </a:extLst>
          </p:cNvPr>
          <p:cNvGrpSpPr/>
          <p:nvPr/>
        </p:nvGrpSpPr>
        <p:grpSpPr>
          <a:xfrm>
            <a:off x="8795146" y="359738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052F741E-9DEF-71EA-3CD4-3C0C60031A4C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F113071E-CD71-77E9-771B-22F899D58590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827697C5-20C2-2E12-A4DC-426A2BFC4461}"/>
              </a:ext>
            </a:extLst>
          </p:cNvPr>
          <p:cNvGrpSpPr/>
          <p:nvPr/>
        </p:nvGrpSpPr>
        <p:grpSpPr>
          <a:xfrm>
            <a:off x="10156890" y="358258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3E005455-0DE4-B6D3-9644-197E7C094488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3761274D-A893-998C-FF08-09ED7519DA0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BD4FB33A-64AD-D515-6593-F18006B529AE}"/>
              </a:ext>
            </a:extLst>
          </p:cNvPr>
          <p:cNvSpPr txBox="1"/>
          <p:nvPr/>
        </p:nvSpPr>
        <p:spPr>
          <a:xfrm>
            <a:off x="1299193" y="36549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9BDB63A5-7B8F-B9DF-31FF-E00DE0A66400}"/>
              </a:ext>
            </a:extLst>
          </p:cNvPr>
          <p:cNvSpPr txBox="1"/>
          <p:nvPr/>
        </p:nvSpPr>
        <p:spPr>
          <a:xfrm>
            <a:off x="2611031" y="364836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35534F43-CE28-1767-8FEA-260F6005B60A}"/>
              </a:ext>
            </a:extLst>
          </p:cNvPr>
          <p:cNvSpPr txBox="1"/>
          <p:nvPr/>
        </p:nvSpPr>
        <p:spPr>
          <a:xfrm>
            <a:off x="3996622" y="364836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2053DE9D-6E75-AE0D-567C-7DAE21D589D4}"/>
              </a:ext>
            </a:extLst>
          </p:cNvPr>
          <p:cNvSpPr txBox="1"/>
          <p:nvPr/>
        </p:nvSpPr>
        <p:spPr>
          <a:xfrm>
            <a:off x="6884451" y="3639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4452665B-93B1-4B2F-7DCB-CCF11085C9CB}"/>
              </a:ext>
            </a:extLst>
          </p:cNvPr>
          <p:cNvSpPr txBox="1"/>
          <p:nvPr/>
        </p:nvSpPr>
        <p:spPr>
          <a:xfrm>
            <a:off x="8179018" y="36549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EB3EA25-983E-8AC4-4922-D25BA6DF44BF}"/>
              </a:ext>
            </a:extLst>
          </p:cNvPr>
          <p:cNvSpPr txBox="1"/>
          <p:nvPr/>
        </p:nvSpPr>
        <p:spPr>
          <a:xfrm>
            <a:off x="9526785" y="368047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7AC578BA-5DDF-9A13-0822-A11A3619D468}"/>
              </a:ext>
            </a:extLst>
          </p:cNvPr>
          <p:cNvSpPr/>
          <p:nvPr/>
        </p:nvSpPr>
        <p:spPr>
          <a:xfrm>
            <a:off x="4545812" y="205134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1966E45E-F7DB-3FFA-7CEB-DFBC2969E15F}"/>
              </a:ext>
            </a:extLst>
          </p:cNvPr>
          <p:cNvSpPr/>
          <p:nvPr/>
        </p:nvSpPr>
        <p:spPr>
          <a:xfrm rot="5400000">
            <a:off x="1326327" y="411092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437AFE31-4D1E-EAEC-926D-3EFC6929A22B}"/>
              </a:ext>
            </a:extLst>
          </p:cNvPr>
          <p:cNvSpPr/>
          <p:nvPr/>
        </p:nvSpPr>
        <p:spPr>
          <a:xfrm>
            <a:off x="6980484" y="4950725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3CCBD2C5-A27E-EE9E-7E60-829559B53A9F}"/>
              </a:ext>
            </a:extLst>
          </p:cNvPr>
          <p:cNvSpPr txBox="1"/>
          <p:nvPr/>
        </p:nvSpPr>
        <p:spPr>
          <a:xfrm>
            <a:off x="1638282" y="407959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AADDF3EF-20D6-9CEC-9DF2-6B6CAEEBA4F6}"/>
              </a:ext>
            </a:extLst>
          </p:cNvPr>
          <p:cNvSpPr txBox="1"/>
          <p:nvPr/>
        </p:nvSpPr>
        <p:spPr>
          <a:xfrm>
            <a:off x="1632514" y="455526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6A6B23D3-248C-AF5F-D774-645FDCDED580}"/>
              </a:ext>
            </a:extLst>
          </p:cNvPr>
          <p:cNvSpPr txBox="1"/>
          <p:nvPr/>
        </p:nvSpPr>
        <p:spPr>
          <a:xfrm>
            <a:off x="2968439" y="453707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323058F-5F8F-DF74-5812-8498CE08FC2E}"/>
              </a:ext>
            </a:extLst>
          </p:cNvPr>
          <p:cNvSpPr txBox="1"/>
          <p:nvPr/>
        </p:nvSpPr>
        <p:spPr>
          <a:xfrm>
            <a:off x="2957851" y="409950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7DC09664-6456-9F08-174B-8F6BF31E4DD6}"/>
              </a:ext>
            </a:extLst>
          </p:cNvPr>
          <p:cNvSpPr txBox="1"/>
          <p:nvPr/>
        </p:nvSpPr>
        <p:spPr>
          <a:xfrm>
            <a:off x="7264936" y="408502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469CBE24-45CE-EBD8-F27D-B8DB2A6F8F06}"/>
              </a:ext>
            </a:extLst>
          </p:cNvPr>
          <p:cNvSpPr txBox="1"/>
          <p:nvPr/>
        </p:nvSpPr>
        <p:spPr>
          <a:xfrm>
            <a:off x="8676227" y="407019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C989543E-48DA-0034-D0C4-E181C6A48AE5}"/>
              </a:ext>
            </a:extLst>
          </p:cNvPr>
          <p:cNvSpPr/>
          <p:nvPr/>
        </p:nvSpPr>
        <p:spPr>
          <a:xfrm rot="5400000">
            <a:off x="1329272" y="457379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72B58DF7-A2E0-6360-9080-12B0FBE2F95A}"/>
              </a:ext>
            </a:extLst>
          </p:cNvPr>
          <p:cNvSpPr/>
          <p:nvPr/>
        </p:nvSpPr>
        <p:spPr>
          <a:xfrm rot="5400000">
            <a:off x="2633229" y="411631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B82A3222-C3D6-2492-6278-797EB002026E}"/>
              </a:ext>
            </a:extLst>
          </p:cNvPr>
          <p:cNvSpPr/>
          <p:nvPr/>
        </p:nvSpPr>
        <p:spPr>
          <a:xfrm rot="5400000">
            <a:off x="2630022" y="455875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83B82D7C-E728-F689-FD5F-B00D143AC73F}"/>
              </a:ext>
            </a:extLst>
          </p:cNvPr>
          <p:cNvSpPr/>
          <p:nvPr/>
        </p:nvSpPr>
        <p:spPr>
          <a:xfrm rot="5400000">
            <a:off x="6943763" y="410691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823CE6B6-E1E4-2CE6-2994-51E2BA408AAA}"/>
              </a:ext>
            </a:extLst>
          </p:cNvPr>
          <p:cNvSpPr/>
          <p:nvPr/>
        </p:nvSpPr>
        <p:spPr>
          <a:xfrm rot="5400000">
            <a:off x="8246207" y="411268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55EDD4AF-5509-408F-AD19-66F6521C6CB3}"/>
              </a:ext>
            </a:extLst>
          </p:cNvPr>
          <p:cNvSpPr/>
          <p:nvPr/>
        </p:nvSpPr>
        <p:spPr>
          <a:xfrm rot="5400000">
            <a:off x="8246207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1C6C1902-E345-4908-8D4F-5009CD52CDC0}"/>
              </a:ext>
            </a:extLst>
          </p:cNvPr>
          <p:cNvSpPr/>
          <p:nvPr/>
        </p:nvSpPr>
        <p:spPr>
          <a:xfrm rot="5400000">
            <a:off x="8383542" y="458079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0D1CCD3F-551A-08DD-9CC4-6985F3D4041F}"/>
              </a:ext>
            </a:extLst>
          </p:cNvPr>
          <p:cNvSpPr/>
          <p:nvPr/>
        </p:nvSpPr>
        <p:spPr>
          <a:xfrm rot="5400000">
            <a:off x="9630114" y="412831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DF04A1D4-75D9-FAAB-D9FB-9788E57F1984}"/>
              </a:ext>
            </a:extLst>
          </p:cNvPr>
          <p:cNvSpPr/>
          <p:nvPr/>
        </p:nvSpPr>
        <p:spPr>
          <a:xfrm rot="5400000">
            <a:off x="9763573" y="412831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40BD410D-80EA-3B5D-4385-4E5920270514}"/>
              </a:ext>
            </a:extLst>
          </p:cNvPr>
          <p:cNvSpPr/>
          <p:nvPr/>
        </p:nvSpPr>
        <p:spPr>
          <a:xfrm rot="5400000">
            <a:off x="9614610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7D4A0D5D-A246-45ED-4EDC-AAAD21B4F263}"/>
              </a:ext>
            </a:extLst>
          </p:cNvPr>
          <p:cNvSpPr/>
          <p:nvPr/>
        </p:nvSpPr>
        <p:spPr>
          <a:xfrm rot="5400000">
            <a:off x="9751945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CB445ED6-A1D5-C6B2-EC2D-F19E06CD206B}"/>
              </a:ext>
            </a:extLst>
          </p:cNvPr>
          <p:cNvSpPr/>
          <p:nvPr/>
        </p:nvSpPr>
        <p:spPr>
          <a:xfrm rot="5400000">
            <a:off x="9889280" y="458007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C525C6-272F-B145-A1DF-8CC6FE5C21D4}"/>
              </a:ext>
            </a:extLst>
          </p:cNvPr>
          <p:cNvSpPr txBox="1"/>
          <p:nvPr/>
        </p:nvSpPr>
        <p:spPr>
          <a:xfrm>
            <a:off x="10072344" y="445909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929623E2-02B0-221D-7716-D6DC98888B37}"/>
              </a:ext>
            </a:extLst>
          </p:cNvPr>
          <p:cNvSpPr txBox="1"/>
          <p:nvPr/>
        </p:nvSpPr>
        <p:spPr>
          <a:xfrm>
            <a:off x="10035451" y="4015216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252BC969-6EF2-7E36-804F-8DB01E3FA0DC}"/>
              </a:ext>
            </a:extLst>
          </p:cNvPr>
          <p:cNvSpPr txBox="1"/>
          <p:nvPr/>
        </p:nvSpPr>
        <p:spPr>
          <a:xfrm>
            <a:off x="8601534" y="447565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73FD0A-C2C4-AC0A-4587-94CB0BCC6024}"/>
              </a:ext>
            </a:extLst>
          </p:cNvPr>
          <p:cNvSpPr txBox="1"/>
          <p:nvPr/>
        </p:nvSpPr>
        <p:spPr>
          <a:xfrm>
            <a:off x="7260758" y="497286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E67F4ADD-C1D3-077C-DD98-B838933D205E}"/>
              </a:ext>
            </a:extLst>
          </p:cNvPr>
          <p:cNvSpPr txBox="1"/>
          <p:nvPr/>
        </p:nvSpPr>
        <p:spPr>
          <a:xfrm>
            <a:off x="453495" y="5532753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27224090-7307-59A5-986F-3E9027D8D414}"/>
              </a:ext>
            </a:extLst>
          </p:cNvPr>
          <p:cNvSpPr txBox="1"/>
          <p:nvPr/>
        </p:nvSpPr>
        <p:spPr>
          <a:xfrm>
            <a:off x="453495" y="5808336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7B1AEE33-F075-ED22-AE64-33B305B8A044}"/>
              </a:ext>
            </a:extLst>
          </p:cNvPr>
          <p:cNvSpPr txBox="1"/>
          <p:nvPr/>
        </p:nvSpPr>
        <p:spPr>
          <a:xfrm>
            <a:off x="6238474" y="553275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1F3F2BE8-576A-37A8-F4E3-EC4E91D9AEC7}"/>
              </a:ext>
            </a:extLst>
          </p:cNvPr>
          <p:cNvSpPr txBox="1"/>
          <p:nvPr/>
        </p:nvSpPr>
        <p:spPr>
          <a:xfrm>
            <a:off x="6238474" y="5808336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121351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185F5-9BFD-8F6F-F17D-704F24CE3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think-cell data - do not delete" hidden="1">
            <a:extLst>
              <a:ext uri="{FF2B5EF4-FFF2-40B4-BE49-F238E27FC236}">
                <a16:creationId xmlns:a16="http://schemas.microsoft.com/office/drawing/2014/main" id="{BF09ED1F-2562-63B4-63AD-AEBBF63290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09ED1F-2562-63B4-63AD-AEBBF63290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56">
            <a:extLst>
              <a:ext uri="{FF2B5EF4-FFF2-40B4-BE49-F238E27FC236}">
                <a16:creationId xmlns:a16="http://schemas.microsoft.com/office/drawing/2014/main" id="{13C9A78F-54B8-0808-A73D-E594D66B9E3D}"/>
              </a:ext>
            </a:extLst>
          </p:cNvPr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CDB99E7-E86E-40E0-DB24-1B2124DE0960}"/>
              </a:ext>
            </a:extLst>
          </p:cNvPr>
          <p:cNvSpPr/>
          <p:nvPr/>
        </p:nvSpPr>
        <p:spPr>
          <a:xfrm>
            <a:off x="344279" y="55858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38EC553-3316-E16C-687E-243536CFF9AF}"/>
              </a:ext>
            </a:extLst>
          </p:cNvPr>
          <p:cNvSpPr/>
          <p:nvPr/>
        </p:nvSpPr>
        <p:spPr>
          <a:xfrm>
            <a:off x="640160" y="37284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ottleneck Manag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44BD3D-6FC5-C564-3A4E-A0E5ED188C1C}"/>
              </a:ext>
            </a:extLst>
          </p:cNvPr>
          <p:cNvSpPr/>
          <p:nvPr/>
        </p:nvSpPr>
        <p:spPr>
          <a:xfrm>
            <a:off x="6183575" y="558584"/>
            <a:ext cx="5760000" cy="48691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3602C965-E248-044F-613D-AED24649D6AD}"/>
              </a:ext>
            </a:extLst>
          </p:cNvPr>
          <p:cNvSpPr/>
          <p:nvPr/>
        </p:nvSpPr>
        <p:spPr>
          <a:xfrm>
            <a:off x="8574526" y="366497"/>
            <a:ext cx="3041650" cy="384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onitoring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C7EC010-A7DE-05C2-3148-56854E1E68C3}"/>
              </a:ext>
            </a:extLst>
          </p:cNvPr>
          <p:cNvSpPr/>
          <p:nvPr/>
        </p:nvSpPr>
        <p:spPr>
          <a:xfrm>
            <a:off x="3831503" y="1017108"/>
            <a:ext cx="171159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CA848929-E12E-77D0-3A40-4C4A62477A90}"/>
              </a:ext>
            </a:extLst>
          </p:cNvPr>
          <p:cNvSpPr/>
          <p:nvPr/>
        </p:nvSpPr>
        <p:spPr>
          <a:xfrm>
            <a:off x="4098084" y="305859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B442F7E-A3CF-1431-4E00-F791729C4F63}"/>
              </a:ext>
            </a:extLst>
          </p:cNvPr>
          <p:cNvSpPr/>
          <p:nvPr/>
        </p:nvSpPr>
        <p:spPr>
          <a:xfrm>
            <a:off x="1871319" y="2038332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34C42824-FDA7-1EBB-01AF-2BC60D30B98A}"/>
              </a:ext>
            </a:extLst>
          </p:cNvPr>
          <p:cNvSpPr/>
          <p:nvPr/>
        </p:nvSpPr>
        <p:spPr>
          <a:xfrm>
            <a:off x="2733966" y="305955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53C98414-BDB7-E2FC-FF76-11F77E6CD8CB}"/>
              </a:ext>
            </a:extLst>
          </p:cNvPr>
          <p:cNvSpPr/>
          <p:nvPr/>
        </p:nvSpPr>
        <p:spPr>
          <a:xfrm>
            <a:off x="1367301" y="3056860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E5DD308-8E5F-D15F-7F31-68904CFB6F83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flipH="1" flipV="1">
            <a:off x="3349923" y="2203702"/>
            <a:ext cx="1491573" cy="274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aute 13">
            <a:extLst>
              <a:ext uri="{FF2B5EF4-FFF2-40B4-BE49-F238E27FC236}">
                <a16:creationId xmlns:a16="http://schemas.microsoft.com/office/drawing/2014/main" id="{593C4B12-84CF-4DFB-A334-4443C6E8B80A}"/>
              </a:ext>
            </a:extLst>
          </p:cNvPr>
          <p:cNvSpPr/>
          <p:nvPr/>
        </p:nvSpPr>
        <p:spPr>
          <a:xfrm>
            <a:off x="2461464" y="257004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7332244-2969-1E89-118E-E77BE828878E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>
            <a:off x="4687303" y="1347848"/>
            <a:ext cx="5036" cy="70944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864245B-53F9-80CF-B2D6-DF999DECBA6F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>
            <a:off x="4692339" y="2355604"/>
            <a:ext cx="2375" cy="70298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A2F19AC-A029-C90E-1B57-6D6909763540}"/>
              </a:ext>
            </a:extLst>
          </p:cNvPr>
          <p:cNvCxnSpPr>
            <a:stCxn id="10" idx="2"/>
            <a:endCxn id="14" idx="0"/>
          </p:cNvCxnSpPr>
          <p:nvPr/>
        </p:nvCxnSpPr>
        <p:spPr>
          <a:xfrm>
            <a:off x="2610621" y="2369072"/>
            <a:ext cx="0" cy="20097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AD1D9A69-77CC-5BEF-48DD-32339B165A4B}"/>
              </a:ext>
            </a:extLst>
          </p:cNvPr>
          <p:cNvCxnSpPr>
            <a:cxnSpLocks/>
            <a:stCxn id="14" idx="3"/>
            <a:endCxn id="11" idx="0"/>
          </p:cNvCxnSpPr>
          <p:nvPr/>
        </p:nvCxnSpPr>
        <p:spPr>
          <a:xfrm>
            <a:off x="2759778" y="2719199"/>
            <a:ext cx="570818" cy="34035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19">
            <a:extLst>
              <a:ext uri="{FF2B5EF4-FFF2-40B4-BE49-F238E27FC236}">
                <a16:creationId xmlns:a16="http://schemas.microsoft.com/office/drawing/2014/main" id="{AFB5B639-9CD7-367F-BE4F-6638138ACB2D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1963932" y="2719198"/>
            <a:ext cx="497533" cy="337661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C908E733-D927-6181-B9D7-917B5C34DE60}"/>
              </a:ext>
            </a:extLst>
          </p:cNvPr>
          <p:cNvSpPr txBox="1"/>
          <p:nvPr/>
        </p:nvSpPr>
        <p:spPr>
          <a:xfrm>
            <a:off x="3448957" y="1938383"/>
            <a:ext cx="11496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16B0B21-99F3-9278-A042-BF4D5D905049}"/>
              </a:ext>
            </a:extLst>
          </p:cNvPr>
          <p:cNvSpPr txBox="1"/>
          <p:nvPr/>
        </p:nvSpPr>
        <p:spPr>
          <a:xfrm>
            <a:off x="733994" y="2707016"/>
            <a:ext cx="22116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a x b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8FBBB9F2-BB7B-3DA6-FAB9-EF0D79024D06}"/>
              </a:ext>
            </a:extLst>
          </p:cNvPr>
          <p:cNvSpPr/>
          <p:nvPr/>
        </p:nvSpPr>
        <p:spPr>
          <a:xfrm>
            <a:off x="6688601" y="1016142"/>
            <a:ext cx="1710000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upply Chain </a:t>
            </a:r>
            <a:r>
              <a:rPr lang="de-DE" sz="1200" dirty="0" err="1">
                <a:solidFill>
                  <a:schemeClr val="tx1"/>
                </a:solidFill>
              </a:rPr>
              <a:t>Conditio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F2B6EBA9-EA82-3888-2862-C2950F2B011E}"/>
              </a:ext>
            </a:extLst>
          </p:cNvPr>
          <p:cNvSpPr/>
          <p:nvPr/>
        </p:nvSpPr>
        <p:spPr>
          <a:xfrm>
            <a:off x="6951096" y="3058592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Normal Operation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FCEE18C-E5A8-6606-0719-BF650A0635DD}"/>
              </a:ext>
            </a:extLst>
          </p:cNvPr>
          <p:cNvSpPr/>
          <p:nvPr/>
        </p:nvSpPr>
        <p:spPr>
          <a:xfrm>
            <a:off x="8883529" y="2037367"/>
            <a:ext cx="1478604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Bottlenec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0A063CE2-52D0-22C9-E59B-9AE2A16093AB}"/>
              </a:ext>
            </a:extLst>
          </p:cNvPr>
          <p:cNvSpPr/>
          <p:nvPr/>
        </p:nvSpPr>
        <p:spPr>
          <a:xfrm>
            <a:off x="8325808" y="3063456"/>
            <a:ext cx="1193259" cy="33074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Isolate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BA6A6E06-5E39-8DAA-B961-8CD522763485}"/>
              </a:ext>
            </a:extLst>
          </p:cNvPr>
          <p:cNvSpPr/>
          <p:nvPr/>
        </p:nvSpPr>
        <p:spPr>
          <a:xfrm>
            <a:off x="9700520" y="3063456"/>
            <a:ext cx="1193259" cy="33074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widesprea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aute 27">
            <a:extLst>
              <a:ext uri="{FF2B5EF4-FFF2-40B4-BE49-F238E27FC236}">
                <a16:creationId xmlns:a16="http://schemas.microsoft.com/office/drawing/2014/main" id="{7C6DF6D9-51B2-730A-CDA0-4DF3F42382ED}"/>
              </a:ext>
            </a:extLst>
          </p:cNvPr>
          <p:cNvSpPr/>
          <p:nvPr/>
        </p:nvSpPr>
        <p:spPr>
          <a:xfrm>
            <a:off x="7398569" y="205358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aute 28">
            <a:extLst>
              <a:ext uri="{FF2B5EF4-FFF2-40B4-BE49-F238E27FC236}">
                <a16:creationId xmlns:a16="http://schemas.microsoft.com/office/drawing/2014/main" id="{DCC223F8-83C5-3D4F-A106-F1A269749597}"/>
              </a:ext>
            </a:extLst>
          </p:cNvPr>
          <p:cNvSpPr/>
          <p:nvPr/>
        </p:nvSpPr>
        <p:spPr>
          <a:xfrm>
            <a:off x="9473674" y="2564192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F0FC74FB-366D-DC1B-B2E3-FA0B0A36B249}"/>
              </a:ext>
            </a:extLst>
          </p:cNvPr>
          <p:cNvCxnSpPr>
            <a:cxnSpLocks/>
            <a:stCxn id="23" idx="2"/>
            <a:endCxn id="28" idx="0"/>
          </p:cNvCxnSpPr>
          <p:nvPr/>
        </p:nvCxnSpPr>
        <p:spPr>
          <a:xfrm>
            <a:off x="7543601" y="1346882"/>
            <a:ext cx="4125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B9B290B9-B92A-F83F-D13C-71CBC2F01868}"/>
              </a:ext>
            </a:extLst>
          </p:cNvPr>
          <p:cNvCxnSpPr>
            <a:cxnSpLocks/>
            <a:stCxn id="28" idx="2"/>
            <a:endCxn id="24" idx="0"/>
          </p:cNvCxnSpPr>
          <p:nvPr/>
        </p:nvCxnSpPr>
        <p:spPr>
          <a:xfrm>
            <a:off x="7547726" y="2351894"/>
            <a:ext cx="0" cy="70669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A7AD131-27CD-D7B8-31A3-4B16FD848FEE}"/>
              </a:ext>
            </a:extLst>
          </p:cNvPr>
          <p:cNvCxnSpPr>
            <a:stCxn id="28" idx="3"/>
            <a:endCxn id="25" idx="1"/>
          </p:cNvCxnSpPr>
          <p:nvPr/>
        </p:nvCxnSpPr>
        <p:spPr>
          <a:xfrm>
            <a:off x="7696883" y="2202737"/>
            <a:ext cx="118664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3DFEE88A-5FAB-3557-BC11-8551113CD195}"/>
              </a:ext>
            </a:extLst>
          </p:cNvPr>
          <p:cNvCxnSpPr>
            <a:stCxn id="25" idx="2"/>
            <a:endCxn id="29" idx="0"/>
          </p:cNvCxnSpPr>
          <p:nvPr/>
        </p:nvCxnSpPr>
        <p:spPr>
          <a:xfrm>
            <a:off x="9622831" y="2368107"/>
            <a:ext cx="0" cy="19608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F323888C-F7DB-EEC0-5523-2A69242C172F}"/>
              </a:ext>
            </a:extLst>
          </p:cNvPr>
          <p:cNvCxnSpPr>
            <a:cxnSpLocks/>
            <a:stCxn id="29" idx="3"/>
            <a:endCxn id="27" idx="0"/>
          </p:cNvCxnSpPr>
          <p:nvPr/>
        </p:nvCxnSpPr>
        <p:spPr>
          <a:xfrm>
            <a:off x="9771988" y="2713349"/>
            <a:ext cx="525162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A6A44D9E-1A23-DF56-F5D7-2B6C867C18DF}"/>
              </a:ext>
            </a:extLst>
          </p:cNvPr>
          <p:cNvCxnSpPr>
            <a:cxnSpLocks/>
            <a:stCxn id="29" idx="1"/>
            <a:endCxn id="26" idx="0"/>
          </p:cNvCxnSpPr>
          <p:nvPr/>
        </p:nvCxnSpPr>
        <p:spPr>
          <a:xfrm rot="10800000" flipV="1">
            <a:off x="8922438" y="2713348"/>
            <a:ext cx="551236" cy="350107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2653CA4-2688-9CE3-FBA1-A9FCD8D01097}"/>
              </a:ext>
            </a:extLst>
          </p:cNvPr>
          <p:cNvSpPr txBox="1"/>
          <p:nvPr/>
        </p:nvSpPr>
        <p:spPr>
          <a:xfrm>
            <a:off x="7597849" y="1959560"/>
            <a:ext cx="12856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P(</a:t>
            </a:r>
            <a:r>
              <a:rPr lang="de-DE" sz="1050" dirty="0" err="1">
                <a:solidFill>
                  <a:schemeClr val="bg1"/>
                </a:solidFill>
              </a:rPr>
              <a:t>bottleneck</a:t>
            </a:r>
            <a:r>
              <a:rPr lang="de-DE" sz="1050" dirty="0">
                <a:solidFill>
                  <a:schemeClr val="bg1"/>
                </a:solidFill>
              </a:rPr>
              <a:t>)= a - </a:t>
            </a:r>
            <a:r>
              <a:rPr lang="de-DE" sz="1050" b="1" dirty="0">
                <a:solidFill>
                  <a:schemeClr val="bg1"/>
                </a:solidFill>
              </a:rPr>
              <a:t>m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D1E55D1E-2789-E4D1-DAF3-6048898FC5C5}"/>
              </a:ext>
            </a:extLst>
          </p:cNvPr>
          <p:cNvSpPr txBox="1"/>
          <p:nvPr/>
        </p:nvSpPr>
        <p:spPr>
          <a:xfrm>
            <a:off x="10310062" y="2739263"/>
            <a:ext cx="17309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P(</a:t>
            </a:r>
            <a:r>
              <a:rPr lang="de-DE" sz="1000" dirty="0" err="1">
                <a:solidFill>
                  <a:schemeClr val="bg1"/>
                </a:solidFill>
              </a:rPr>
              <a:t>widespread</a:t>
            </a:r>
            <a:r>
              <a:rPr lang="de-DE" sz="1000" dirty="0">
                <a:solidFill>
                  <a:schemeClr val="bg1"/>
                </a:solidFill>
              </a:rPr>
              <a:t>)= (a-</a:t>
            </a:r>
            <a:r>
              <a:rPr lang="de-DE" sz="1000" b="1" dirty="0">
                <a:solidFill>
                  <a:schemeClr val="bg1"/>
                </a:solidFill>
              </a:rPr>
              <a:t>m</a:t>
            </a:r>
            <a:r>
              <a:rPr lang="de-DE" sz="1000" dirty="0">
                <a:solidFill>
                  <a:schemeClr val="bg1"/>
                </a:solidFill>
              </a:rPr>
              <a:t>) x (b-</a:t>
            </a:r>
            <a:r>
              <a:rPr lang="de-DE" sz="1000" b="1" dirty="0">
                <a:solidFill>
                  <a:schemeClr val="bg1"/>
                </a:solidFill>
              </a:rPr>
              <a:t>n</a:t>
            </a:r>
            <a:r>
              <a:rPr lang="de-DE" sz="1000" dirty="0">
                <a:solidFill>
                  <a:schemeClr val="bg1"/>
                </a:solidFill>
              </a:rPr>
              <a:t>)</a:t>
            </a:r>
          </a:p>
        </p:txBody>
      </p:sp>
      <p:graphicFrame>
        <p:nvGraphicFramePr>
          <p:cNvPr id="38" name="Tabelle 37">
            <a:extLst>
              <a:ext uri="{FF2B5EF4-FFF2-40B4-BE49-F238E27FC236}">
                <a16:creationId xmlns:a16="http://schemas.microsoft.com/office/drawing/2014/main" id="{FA545336-C26F-BA22-0616-28C9620572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8407717"/>
              </p:ext>
            </p:extLst>
          </p:nvPr>
        </p:nvGraphicFramePr>
        <p:xfrm>
          <a:off x="1345673" y="3974768"/>
          <a:ext cx="9548105" cy="12801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286087">
                  <a:extLst>
                    <a:ext uri="{9D8B030D-6E8A-4147-A177-3AD203B41FA5}">
                      <a16:colId xmlns:a16="http://schemas.microsoft.com/office/drawing/2014/main" val="1997290932"/>
                    </a:ext>
                  </a:extLst>
                </a:gridCol>
                <a:gridCol w="1374843">
                  <a:extLst>
                    <a:ext uri="{9D8B030D-6E8A-4147-A177-3AD203B41FA5}">
                      <a16:colId xmlns:a16="http://schemas.microsoft.com/office/drawing/2014/main" val="3262694646"/>
                    </a:ext>
                  </a:extLst>
                </a:gridCol>
                <a:gridCol w="1316476">
                  <a:extLst>
                    <a:ext uri="{9D8B030D-6E8A-4147-A177-3AD203B41FA5}">
                      <a16:colId xmlns:a16="http://schemas.microsoft.com/office/drawing/2014/main" val="1236148708"/>
                    </a:ext>
                  </a:extLst>
                </a:gridCol>
                <a:gridCol w="1614792">
                  <a:extLst>
                    <a:ext uri="{9D8B030D-6E8A-4147-A177-3AD203B41FA5}">
                      <a16:colId xmlns:a16="http://schemas.microsoft.com/office/drawing/2014/main" val="1784460603"/>
                    </a:ext>
                  </a:extLst>
                </a:gridCol>
                <a:gridCol w="1303506">
                  <a:extLst>
                    <a:ext uri="{9D8B030D-6E8A-4147-A177-3AD203B41FA5}">
                      <a16:colId xmlns:a16="http://schemas.microsoft.com/office/drawing/2014/main" val="489371376"/>
                    </a:ext>
                  </a:extLst>
                </a:gridCol>
                <a:gridCol w="1381328">
                  <a:extLst>
                    <a:ext uri="{9D8B030D-6E8A-4147-A177-3AD203B41FA5}">
                      <a16:colId xmlns:a16="http://schemas.microsoft.com/office/drawing/2014/main" val="3641832171"/>
                    </a:ext>
                  </a:extLst>
                </a:gridCol>
                <a:gridCol w="1271073">
                  <a:extLst>
                    <a:ext uri="{9D8B030D-6E8A-4147-A177-3AD203B41FA5}">
                      <a16:colId xmlns:a16="http://schemas.microsoft.com/office/drawing/2014/main" val="18784775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Administrative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6577172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Operational Bottleneck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30566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>
                          <a:solidFill>
                            <a:schemeClr val="bg1"/>
                          </a:solidFill>
                        </a:rPr>
                        <a:t>Optimization</a:t>
                      </a: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 Potential 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6957743"/>
                  </a:ext>
                </a:extLst>
              </a:tr>
            </a:tbl>
          </a:graphicData>
        </a:graphic>
      </p:graphicFrame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E3BA1F7-0930-8CBE-F8A1-03B31106C17D}"/>
              </a:ext>
            </a:extLst>
          </p:cNvPr>
          <p:cNvGrpSpPr/>
          <p:nvPr/>
        </p:nvGrpSpPr>
        <p:grpSpPr>
          <a:xfrm>
            <a:off x="1839131" y="359681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0" name="Pfeil: Chevron 39">
              <a:extLst>
                <a:ext uri="{FF2B5EF4-FFF2-40B4-BE49-F238E27FC236}">
                  <a16:creationId xmlns:a16="http://schemas.microsoft.com/office/drawing/2014/main" id="{49E21F4C-A9A9-1041-FCD1-387CDCF6D9F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1" name="Pfeil: Chevron 40">
              <a:extLst>
                <a:ext uri="{FF2B5EF4-FFF2-40B4-BE49-F238E27FC236}">
                  <a16:creationId xmlns:a16="http://schemas.microsoft.com/office/drawing/2014/main" id="{8E5E521E-DD79-552F-DB11-63CCDAA71D1A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DD160865-CD27-ADFB-D0A0-D0DB2A9FF8C3}"/>
              </a:ext>
            </a:extLst>
          </p:cNvPr>
          <p:cNvGrpSpPr/>
          <p:nvPr/>
        </p:nvGrpSpPr>
        <p:grpSpPr>
          <a:xfrm>
            <a:off x="3207258" y="3611862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3" name="Pfeil: Chevron 42">
              <a:extLst>
                <a:ext uri="{FF2B5EF4-FFF2-40B4-BE49-F238E27FC236}">
                  <a16:creationId xmlns:a16="http://schemas.microsoft.com/office/drawing/2014/main" id="{162F828A-AA58-493E-A1A3-BD0D9D84B21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4" name="Pfeil: Chevron 43">
              <a:extLst>
                <a:ext uri="{FF2B5EF4-FFF2-40B4-BE49-F238E27FC236}">
                  <a16:creationId xmlns:a16="http://schemas.microsoft.com/office/drawing/2014/main" id="{B9E75F09-2F46-761A-ABEC-90B79D871D47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E752AE3B-7FEB-A260-09AA-3745CEDD7E2D}"/>
              </a:ext>
            </a:extLst>
          </p:cNvPr>
          <p:cNvGrpSpPr/>
          <p:nvPr/>
        </p:nvGrpSpPr>
        <p:grpSpPr>
          <a:xfrm>
            <a:off x="4569002" y="3597054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6" name="Pfeil: Chevron 45">
              <a:extLst>
                <a:ext uri="{FF2B5EF4-FFF2-40B4-BE49-F238E27FC236}">
                  <a16:creationId xmlns:a16="http://schemas.microsoft.com/office/drawing/2014/main" id="{10545208-9418-11F3-3B4D-EF2F1FE19A0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47" name="Pfeil: Chevron 46">
              <a:extLst>
                <a:ext uri="{FF2B5EF4-FFF2-40B4-BE49-F238E27FC236}">
                  <a16:creationId xmlns:a16="http://schemas.microsoft.com/office/drawing/2014/main" id="{C459543B-33A7-EBE1-BCE3-2A35E66C9C6F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C48D6AB5-10DB-E79B-5B7C-78E97C262A83}"/>
              </a:ext>
            </a:extLst>
          </p:cNvPr>
          <p:cNvGrpSpPr/>
          <p:nvPr/>
        </p:nvGrpSpPr>
        <p:grpSpPr>
          <a:xfrm>
            <a:off x="7424389" y="3588288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49" name="Pfeil: Chevron 48">
              <a:extLst>
                <a:ext uri="{FF2B5EF4-FFF2-40B4-BE49-F238E27FC236}">
                  <a16:creationId xmlns:a16="http://schemas.microsoft.com/office/drawing/2014/main" id="{9F82FA5C-4187-EE4A-3A27-5F323D001125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0" name="Pfeil: Chevron 49">
              <a:extLst>
                <a:ext uri="{FF2B5EF4-FFF2-40B4-BE49-F238E27FC236}">
                  <a16:creationId xmlns:a16="http://schemas.microsoft.com/office/drawing/2014/main" id="{F0D6DCA1-3FF4-8F89-7A07-95ADC10AB04C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6A3F9D08-6168-B27A-7A7F-77D9197A9EBF}"/>
              </a:ext>
            </a:extLst>
          </p:cNvPr>
          <p:cNvGrpSpPr/>
          <p:nvPr/>
        </p:nvGrpSpPr>
        <p:grpSpPr>
          <a:xfrm>
            <a:off x="8792516" y="3603339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2" name="Pfeil: Chevron 51">
              <a:extLst>
                <a:ext uri="{FF2B5EF4-FFF2-40B4-BE49-F238E27FC236}">
                  <a16:creationId xmlns:a16="http://schemas.microsoft.com/office/drawing/2014/main" id="{D6645ECD-695D-C52B-5BA7-A328A489CD43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3" name="Pfeil: Chevron 52">
              <a:extLst>
                <a:ext uri="{FF2B5EF4-FFF2-40B4-BE49-F238E27FC236}">
                  <a16:creationId xmlns:a16="http://schemas.microsoft.com/office/drawing/2014/main" id="{9D0D0874-640D-9B4D-DF15-D92708C172E8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B88E0D6E-A014-B4F3-2B13-13B41128C3F6}"/>
              </a:ext>
            </a:extLst>
          </p:cNvPr>
          <p:cNvGrpSpPr/>
          <p:nvPr/>
        </p:nvGrpSpPr>
        <p:grpSpPr>
          <a:xfrm>
            <a:off x="10154260" y="3588531"/>
            <a:ext cx="246673" cy="190059"/>
            <a:chOff x="1730562" y="3745439"/>
            <a:chExt cx="246673" cy="190059"/>
          </a:xfrm>
          <a:solidFill>
            <a:schemeClr val="bg1"/>
          </a:solidFill>
        </p:grpSpPr>
        <p:sp>
          <p:nvSpPr>
            <p:cNvPr id="55" name="Pfeil: Chevron 54">
              <a:extLst>
                <a:ext uri="{FF2B5EF4-FFF2-40B4-BE49-F238E27FC236}">
                  <a16:creationId xmlns:a16="http://schemas.microsoft.com/office/drawing/2014/main" id="{60EB3983-48DE-512A-B6BC-9381F8FA8B9E}"/>
                </a:ext>
              </a:extLst>
            </p:cNvPr>
            <p:cNvSpPr/>
            <p:nvPr/>
          </p:nvSpPr>
          <p:spPr>
            <a:xfrm rot="5400000">
              <a:off x="1783404" y="3741667"/>
              <a:ext cx="140989" cy="246673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6" name="Pfeil: Chevron 55">
              <a:extLst>
                <a:ext uri="{FF2B5EF4-FFF2-40B4-BE49-F238E27FC236}">
                  <a16:creationId xmlns:a16="http://schemas.microsoft.com/office/drawing/2014/main" id="{C466359D-658E-240F-F9C9-A65EAA2D67E6}"/>
                </a:ext>
              </a:extLst>
            </p:cNvPr>
            <p:cNvSpPr/>
            <p:nvPr/>
          </p:nvSpPr>
          <p:spPr>
            <a:xfrm rot="5400000">
              <a:off x="1804829" y="3724015"/>
              <a:ext cx="98140" cy="14098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6296564A-D2B2-CEE3-DE76-0953D4880252}"/>
              </a:ext>
            </a:extLst>
          </p:cNvPr>
          <p:cNvSpPr txBox="1"/>
          <p:nvPr/>
        </p:nvSpPr>
        <p:spPr>
          <a:xfrm>
            <a:off x="1296563" y="3660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3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7C04D516-A68D-F5E8-5AA2-96F15E7953EC}"/>
              </a:ext>
            </a:extLst>
          </p:cNvPr>
          <p:cNvSpPr txBox="1"/>
          <p:nvPr/>
        </p:nvSpPr>
        <p:spPr>
          <a:xfrm>
            <a:off x="2608401" y="365431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AFE6117-E397-EA32-2C44-6E10E1478415}"/>
              </a:ext>
            </a:extLst>
          </p:cNvPr>
          <p:cNvSpPr txBox="1"/>
          <p:nvPr/>
        </p:nvSpPr>
        <p:spPr>
          <a:xfrm>
            <a:off x="3993992" y="3654317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.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84B4F505-595D-0F4B-5FFA-3A0442FFC2CC}"/>
              </a:ext>
            </a:extLst>
          </p:cNvPr>
          <p:cNvSpPr txBox="1"/>
          <p:nvPr/>
        </p:nvSpPr>
        <p:spPr>
          <a:xfrm>
            <a:off x="6881821" y="364588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1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7D248DAE-5A71-8197-7C5F-2BA390EE02B8}"/>
              </a:ext>
            </a:extLst>
          </p:cNvPr>
          <p:cNvSpPr txBox="1"/>
          <p:nvPr/>
        </p:nvSpPr>
        <p:spPr>
          <a:xfrm>
            <a:off x="8176388" y="3660931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BABC2F47-9FC1-C7D7-3718-2A95EDE087A0}"/>
              </a:ext>
            </a:extLst>
          </p:cNvPr>
          <p:cNvSpPr txBox="1"/>
          <p:nvPr/>
        </p:nvSpPr>
        <p:spPr>
          <a:xfrm>
            <a:off x="9524155" y="3686428"/>
            <a:ext cx="50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.3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372BBA3A-F2A6-219A-783B-A4D2EF4DDF97}"/>
              </a:ext>
            </a:extLst>
          </p:cNvPr>
          <p:cNvSpPr/>
          <p:nvPr/>
        </p:nvSpPr>
        <p:spPr>
          <a:xfrm>
            <a:off x="4543182" y="2057290"/>
            <a:ext cx="298314" cy="298314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Pfeil: nach rechts 99">
            <a:extLst>
              <a:ext uri="{FF2B5EF4-FFF2-40B4-BE49-F238E27FC236}">
                <a16:creationId xmlns:a16="http://schemas.microsoft.com/office/drawing/2014/main" id="{912EFF23-1CAD-2369-3E79-F9B2C94CF35E}"/>
              </a:ext>
            </a:extLst>
          </p:cNvPr>
          <p:cNvSpPr/>
          <p:nvPr/>
        </p:nvSpPr>
        <p:spPr>
          <a:xfrm rot="5400000">
            <a:off x="1323697" y="4116879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06" name="Kreuz 105">
            <a:extLst>
              <a:ext uri="{FF2B5EF4-FFF2-40B4-BE49-F238E27FC236}">
                <a16:creationId xmlns:a16="http://schemas.microsoft.com/office/drawing/2014/main" id="{AF1FC6F4-C366-CFD6-FE75-E48C77AD3ED0}"/>
              </a:ext>
            </a:extLst>
          </p:cNvPr>
          <p:cNvSpPr/>
          <p:nvPr/>
        </p:nvSpPr>
        <p:spPr>
          <a:xfrm>
            <a:off x="6977854" y="4956675"/>
            <a:ext cx="200978" cy="200978"/>
          </a:xfrm>
          <a:prstGeom prst="plus">
            <a:avLst>
              <a:gd name="adj" fmla="val 4262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9FA72B84-D1C0-CAB5-EBD8-478A3D8A7AE8}"/>
              </a:ext>
            </a:extLst>
          </p:cNvPr>
          <p:cNvSpPr txBox="1"/>
          <p:nvPr/>
        </p:nvSpPr>
        <p:spPr>
          <a:xfrm>
            <a:off x="1635652" y="408554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6063E725-58CB-22F8-D0E2-80A1C9339DAD}"/>
              </a:ext>
            </a:extLst>
          </p:cNvPr>
          <p:cNvSpPr txBox="1"/>
          <p:nvPr/>
        </p:nvSpPr>
        <p:spPr>
          <a:xfrm>
            <a:off x="1629884" y="4561213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9DB8D45E-0FBF-E548-9368-5330A85E0E1D}"/>
              </a:ext>
            </a:extLst>
          </p:cNvPr>
          <p:cNvSpPr txBox="1"/>
          <p:nvPr/>
        </p:nvSpPr>
        <p:spPr>
          <a:xfrm>
            <a:off x="2965809" y="454302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18075E2E-0913-B949-13AF-802CF98BF339}"/>
              </a:ext>
            </a:extLst>
          </p:cNvPr>
          <p:cNvSpPr txBox="1"/>
          <p:nvPr/>
        </p:nvSpPr>
        <p:spPr>
          <a:xfrm>
            <a:off x="2955221" y="410545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2C068E84-A296-531C-E940-F9BF06DC8C69}"/>
              </a:ext>
            </a:extLst>
          </p:cNvPr>
          <p:cNvSpPr txBox="1"/>
          <p:nvPr/>
        </p:nvSpPr>
        <p:spPr>
          <a:xfrm>
            <a:off x="7262306" y="4090977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6266AEB6-105B-0A61-4DB1-EAAC813F9004}"/>
              </a:ext>
            </a:extLst>
          </p:cNvPr>
          <p:cNvSpPr txBox="1"/>
          <p:nvPr/>
        </p:nvSpPr>
        <p:spPr>
          <a:xfrm>
            <a:off x="8673597" y="4076141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0" name="Pfeil: nach rechts 139">
            <a:extLst>
              <a:ext uri="{FF2B5EF4-FFF2-40B4-BE49-F238E27FC236}">
                <a16:creationId xmlns:a16="http://schemas.microsoft.com/office/drawing/2014/main" id="{74F221A1-DDFC-08DD-8599-A1C7E2D806C0}"/>
              </a:ext>
            </a:extLst>
          </p:cNvPr>
          <p:cNvSpPr/>
          <p:nvPr/>
        </p:nvSpPr>
        <p:spPr>
          <a:xfrm rot="5400000">
            <a:off x="1326642" y="457974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1" name="Pfeil: nach rechts 140">
            <a:extLst>
              <a:ext uri="{FF2B5EF4-FFF2-40B4-BE49-F238E27FC236}">
                <a16:creationId xmlns:a16="http://schemas.microsoft.com/office/drawing/2014/main" id="{13C14F09-6AB7-EB64-B686-3E5BC7AA93A7}"/>
              </a:ext>
            </a:extLst>
          </p:cNvPr>
          <p:cNvSpPr/>
          <p:nvPr/>
        </p:nvSpPr>
        <p:spPr>
          <a:xfrm rot="5400000">
            <a:off x="2630599" y="412226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2" name="Pfeil: nach rechts 141">
            <a:extLst>
              <a:ext uri="{FF2B5EF4-FFF2-40B4-BE49-F238E27FC236}">
                <a16:creationId xmlns:a16="http://schemas.microsoft.com/office/drawing/2014/main" id="{2D9C7818-1492-0D04-8055-CE017303ABD4}"/>
              </a:ext>
            </a:extLst>
          </p:cNvPr>
          <p:cNvSpPr/>
          <p:nvPr/>
        </p:nvSpPr>
        <p:spPr>
          <a:xfrm rot="5400000">
            <a:off x="2627392" y="4564704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3" name="Pfeil: nach rechts 142">
            <a:extLst>
              <a:ext uri="{FF2B5EF4-FFF2-40B4-BE49-F238E27FC236}">
                <a16:creationId xmlns:a16="http://schemas.microsoft.com/office/drawing/2014/main" id="{E1804A78-FA43-0BC9-C0D9-4F2A7745F72E}"/>
              </a:ext>
            </a:extLst>
          </p:cNvPr>
          <p:cNvSpPr/>
          <p:nvPr/>
        </p:nvSpPr>
        <p:spPr>
          <a:xfrm rot="5400000">
            <a:off x="6941133" y="4112862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4" name="Pfeil: nach rechts 143">
            <a:extLst>
              <a:ext uri="{FF2B5EF4-FFF2-40B4-BE49-F238E27FC236}">
                <a16:creationId xmlns:a16="http://schemas.microsoft.com/office/drawing/2014/main" id="{A3F7D5CD-CAA2-09B7-262A-4A0B523D8BC7}"/>
              </a:ext>
            </a:extLst>
          </p:cNvPr>
          <p:cNvSpPr/>
          <p:nvPr/>
        </p:nvSpPr>
        <p:spPr>
          <a:xfrm rot="5400000">
            <a:off x="8243577" y="4118637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5" name="Pfeil: nach rechts 144">
            <a:extLst>
              <a:ext uri="{FF2B5EF4-FFF2-40B4-BE49-F238E27FC236}">
                <a16:creationId xmlns:a16="http://schemas.microsoft.com/office/drawing/2014/main" id="{1ABC2C2E-ACCA-BDF4-26BC-BDB3F161418F}"/>
              </a:ext>
            </a:extLst>
          </p:cNvPr>
          <p:cNvSpPr/>
          <p:nvPr/>
        </p:nvSpPr>
        <p:spPr>
          <a:xfrm rot="5400000">
            <a:off x="8243577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6" name="Pfeil: nach rechts 145">
            <a:extLst>
              <a:ext uri="{FF2B5EF4-FFF2-40B4-BE49-F238E27FC236}">
                <a16:creationId xmlns:a16="http://schemas.microsoft.com/office/drawing/2014/main" id="{EA44AE67-B6C8-D2C2-A4F5-69CA68503F77}"/>
              </a:ext>
            </a:extLst>
          </p:cNvPr>
          <p:cNvSpPr/>
          <p:nvPr/>
        </p:nvSpPr>
        <p:spPr>
          <a:xfrm rot="5400000">
            <a:off x="8380912" y="458674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7" name="Pfeil: nach rechts 146">
            <a:extLst>
              <a:ext uri="{FF2B5EF4-FFF2-40B4-BE49-F238E27FC236}">
                <a16:creationId xmlns:a16="http://schemas.microsoft.com/office/drawing/2014/main" id="{6A5A0E2A-0B6A-90BB-C325-BD8E23347797}"/>
              </a:ext>
            </a:extLst>
          </p:cNvPr>
          <p:cNvSpPr/>
          <p:nvPr/>
        </p:nvSpPr>
        <p:spPr>
          <a:xfrm rot="5400000">
            <a:off x="9627484" y="413426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8" name="Pfeil: nach rechts 147">
            <a:extLst>
              <a:ext uri="{FF2B5EF4-FFF2-40B4-BE49-F238E27FC236}">
                <a16:creationId xmlns:a16="http://schemas.microsoft.com/office/drawing/2014/main" id="{5B945A77-FA95-4047-381F-98709E1E2D9D}"/>
              </a:ext>
            </a:extLst>
          </p:cNvPr>
          <p:cNvSpPr/>
          <p:nvPr/>
        </p:nvSpPr>
        <p:spPr>
          <a:xfrm rot="5400000">
            <a:off x="9760943" y="4134265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49" name="Pfeil: nach rechts 148">
            <a:extLst>
              <a:ext uri="{FF2B5EF4-FFF2-40B4-BE49-F238E27FC236}">
                <a16:creationId xmlns:a16="http://schemas.microsoft.com/office/drawing/2014/main" id="{034D3CE1-10FA-2654-9CAA-5325CC137024}"/>
              </a:ext>
            </a:extLst>
          </p:cNvPr>
          <p:cNvSpPr/>
          <p:nvPr/>
        </p:nvSpPr>
        <p:spPr>
          <a:xfrm rot="5400000">
            <a:off x="9611980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0" name="Pfeil: nach rechts 149">
            <a:extLst>
              <a:ext uri="{FF2B5EF4-FFF2-40B4-BE49-F238E27FC236}">
                <a16:creationId xmlns:a16="http://schemas.microsoft.com/office/drawing/2014/main" id="{9F173274-A5BD-BEBB-49A9-09C7E42486A8}"/>
              </a:ext>
            </a:extLst>
          </p:cNvPr>
          <p:cNvSpPr/>
          <p:nvPr/>
        </p:nvSpPr>
        <p:spPr>
          <a:xfrm rot="5400000">
            <a:off x="9749315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1" name="Pfeil: nach rechts 150">
            <a:extLst>
              <a:ext uri="{FF2B5EF4-FFF2-40B4-BE49-F238E27FC236}">
                <a16:creationId xmlns:a16="http://schemas.microsoft.com/office/drawing/2014/main" id="{26C9C83D-B4DB-40F5-A3F8-96709274EAC3}"/>
              </a:ext>
            </a:extLst>
          </p:cNvPr>
          <p:cNvSpPr/>
          <p:nvPr/>
        </p:nvSpPr>
        <p:spPr>
          <a:xfrm rot="5400000">
            <a:off x="9886650" y="4586021"/>
            <a:ext cx="199149" cy="125707"/>
          </a:xfrm>
          <a:prstGeom prst="rightArrow">
            <a:avLst>
              <a:gd name="adj1" fmla="val 33884"/>
              <a:gd name="adj2" fmla="val 50000"/>
            </a:avLst>
          </a:prstGeom>
          <a:solidFill>
            <a:srgbClr val="00B05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9B61022A-714C-1111-5C35-C5CAC0D49430}"/>
              </a:ext>
            </a:extLst>
          </p:cNvPr>
          <p:cNvSpPr txBox="1"/>
          <p:nvPr/>
        </p:nvSpPr>
        <p:spPr>
          <a:xfrm>
            <a:off x="10069714" y="4465042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Significant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34F6BAD2-1ED2-70A0-83BC-E6D9DE11B5F4}"/>
              </a:ext>
            </a:extLst>
          </p:cNvPr>
          <p:cNvSpPr txBox="1"/>
          <p:nvPr/>
        </p:nvSpPr>
        <p:spPr>
          <a:xfrm>
            <a:off x="10032821" y="4021166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AEEE13BA-A685-6A76-89EF-11AF56E6A3C3}"/>
              </a:ext>
            </a:extLst>
          </p:cNvPr>
          <p:cNvSpPr txBox="1"/>
          <p:nvPr/>
        </p:nvSpPr>
        <p:spPr>
          <a:xfrm>
            <a:off x="8598904" y="4481603"/>
            <a:ext cx="810055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Noticeably</a:t>
            </a:r>
            <a:r>
              <a:rPr lang="de-DE" sz="11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  </a:t>
            </a: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duc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6F479B9C-3C72-EF0D-DCB5-ECBD1C8E2E8F}"/>
              </a:ext>
            </a:extLst>
          </p:cNvPr>
          <p:cNvSpPr txBox="1"/>
          <p:nvPr/>
        </p:nvSpPr>
        <p:spPr>
          <a:xfrm>
            <a:off x="7258128" y="4978814"/>
            <a:ext cx="869154" cy="1991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Increased</a:t>
            </a:r>
            <a:endParaRPr lang="de-DE" sz="1100" i="1" dirty="0">
              <a:solidFill>
                <a:schemeClr val="tx1">
                  <a:lumMod val="85000"/>
                  <a:lumOff val="1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FF055CD8-3589-1056-165F-64FC288BE00F}"/>
              </a:ext>
            </a:extLst>
          </p:cNvPr>
          <p:cNvSpPr txBox="1"/>
          <p:nvPr/>
        </p:nvSpPr>
        <p:spPr>
          <a:xfrm>
            <a:off x="450865" y="5538703"/>
            <a:ext cx="2757120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=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 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D95E94C2-83D6-D14F-D5B9-8E7AD2CD5A48}"/>
              </a:ext>
            </a:extLst>
          </p:cNvPr>
          <p:cNvSpPr txBox="1"/>
          <p:nvPr/>
        </p:nvSpPr>
        <p:spPr>
          <a:xfrm>
            <a:off x="450865" y="5814286"/>
            <a:ext cx="4184371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Conditional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probability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344FC14B-E833-CDF7-24D8-FE6CF4AEDED6}"/>
              </a:ext>
            </a:extLst>
          </p:cNvPr>
          <p:cNvSpPr txBox="1"/>
          <p:nvPr/>
        </p:nvSpPr>
        <p:spPr>
          <a:xfrm>
            <a:off x="6235844" y="5538703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m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general bottleneck occurring</a:t>
            </a:r>
            <a:endParaRPr lang="de-DE" sz="1100" dirty="0">
              <a:solidFill>
                <a:schemeClr val="bg1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C2F74A39-0AEA-3431-01CD-15B7682D9E05}"/>
              </a:ext>
            </a:extLst>
          </p:cNvPr>
          <p:cNvSpPr txBox="1"/>
          <p:nvPr/>
        </p:nvSpPr>
        <p:spPr>
          <a:xfrm>
            <a:off x="6235844" y="5814286"/>
            <a:ext cx="4061305" cy="23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n =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Reductio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Parameter </a:t>
            </a:r>
            <a:r>
              <a:rPr lang="en-US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of a 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a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widespread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bottleneck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given</a:t>
            </a:r>
            <a:r>
              <a:rPr lang="de-DE" sz="1100" dirty="0">
                <a:solidFill>
                  <a:schemeClr val="bg1"/>
                </a:solidFill>
                <a:latin typeface="Manrope Light" pitchFamily="2" charset="0"/>
                <a:cs typeface="Arial" panose="020B0604020202020204" pitchFamily="34" charset="0"/>
              </a:rPr>
              <a:t> Bottleneck</a:t>
            </a:r>
          </a:p>
        </p:txBody>
      </p:sp>
    </p:spTree>
    <p:extLst>
      <p:ext uri="{BB962C8B-B14F-4D97-AF65-F5344CB8AC3E}">
        <p14:creationId xmlns:p14="http://schemas.microsoft.com/office/powerpoint/2010/main" val="121292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ilkreis 3">
            <a:extLst>
              <a:ext uri="{FF2B5EF4-FFF2-40B4-BE49-F238E27FC236}">
                <a16:creationId xmlns:a16="http://schemas.microsoft.com/office/drawing/2014/main" id="{F3D6D788-5F29-A5B4-5B12-2F07082E60EA}"/>
              </a:ext>
            </a:extLst>
          </p:cNvPr>
          <p:cNvSpPr/>
          <p:nvPr/>
        </p:nvSpPr>
        <p:spPr>
          <a:xfrm flipH="1" flipV="1">
            <a:off x="3662760" y="98184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Teilkreis 4">
            <a:extLst>
              <a:ext uri="{FF2B5EF4-FFF2-40B4-BE49-F238E27FC236}">
                <a16:creationId xmlns:a16="http://schemas.microsoft.com/office/drawing/2014/main" id="{5445767D-8E07-DB26-0C66-310B2B571EB5}"/>
              </a:ext>
            </a:extLst>
          </p:cNvPr>
          <p:cNvSpPr/>
          <p:nvPr/>
        </p:nvSpPr>
        <p:spPr>
          <a:xfrm flipV="1">
            <a:off x="3662031" y="98976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EEEC5CCD-425C-D9C3-2846-E3C18D31729E}"/>
              </a:ext>
            </a:extLst>
          </p:cNvPr>
          <p:cNvSpPr/>
          <p:nvPr/>
        </p:nvSpPr>
        <p:spPr>
          <a:xfrm rot="16200000" flipV="1">
            <a:off x="5384330" y="4808398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Teilkreis 6">
            <a:extLst>
              <a:ext uri="{FF2B5EF4-FFF2-40B4-BE49-F238E27FC236}">
                <a16:creationId xmlns:a16="http://schemas.microsoft.com/office/drawing/2014/main" id="{7648C4F4-B751-B04F-8232-74A38E84ED79}"/>
              </a:ext>
            </a:extLst>
          </p:cNvPr>
          <p:cNvSpPr/>
          <p:nvPr/>
        </p:nvSpPr>
        <p:spPr>
          <a:xfrm flipH="1">
            <a:off x="3666000" y="985081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196B24">
              <a:lumMod val="5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ilkreis 7">
            <a:extLst>
              <a:ext uri="{FF2B5EF4-FFF2-40B4-BE49-F238E27FC236}">
                <a16:creationId xmlns:a16="http://schemas.microsoft.com/office/drawing/2014/main" id="{3F65D99B-F6ED-C95B-C408-D799E429EC54}"/>
              </a:ext>
            </a:extLst>
          </p:cNvPr>
          <p:cNvSpPr/>
          <p:nvPr/>
        </p:nvSpPr>
        <p:spPr>
          <a:xfrm>
            <a:off x="3665271" y="993004"/>
            <a:ext cx="4860000" cy="4860000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0E2841">
              <a:lumMod val="90000"/>
              <a:lumOff val="1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Kreis: nicht ausgefüllt 8">
            <a:extLst>
              <a:ext uri="{FF2B5EF4-FFF2-40B4-BE49-F238E27FC236}">
                <a16:creationId xmlns:a16="http://schemas.microsoft.com/office/drawing/2014/main" id="{6FFFE7D7-6FDC-4B71-16B8-E79CA047F8E1}"/>
              </a:ext>
            </a:extLst>
          </p:cNvPr>
          <p:cNvSpPr/>
          <p:nvPr/>
        </p:nvSpPr>
        <p:spPr>
          <a:xfrm>
            <a:off x="3116761" y="438503"/>
            <a:ext cx="5976000" cy="5976000"/>
          </a:xfrm>
          <a:prstGeom prst="donut">
            <a:avLst>
              <a:gd name="adj" fmla="val 6244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Halbbogen 9">
            <a:extLst>
              <a:ext uri="{FF2B5EF4-FFF2-40B4-BE49-F238E27FC236}">
                <a16:creationId xmlns:a16="http://schemas.microsoft.com/office/drawing/2014/main" id="{80CC4C14-BBDE-3F80-B957-C16072FC709D}"/>
              </a:ext>
            </a:extLst>
          </p:cNvPr>
          <p:cNvSpPr/>
          <p:nvPr/>
        </p:nvSpPr>
        <p:spPr>
          <a:xfrm rot="16200000">
            <a:off x="3163562" y="485305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56082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Halbbogen 10">
            <a:extLst>
              <a:ext uri="{FF2B5EF4-FFF2-40B4-BE49-F238E27FC236}">
                <a16:creationId xmlns:a16="http://schemas.microsoft.com/office/drawing/2014/main" id="{FE4263C4-191A-933F-0D30-9F546EDB414A}"/>
              </a:ext>
            </a:extLst>
          </p:cNvPr>
          <p:cNvSpPr/>
          <p:nvPr/>
        </p:nvSpPr>
        <p:spPr>
          <a:xfrm rot="5400000" flipH="1">
            <a:off x="3163562" y="485303"/>
            <a:ext cx="5882400" cy="5882400"/>
          </a:xfrm>
          <a:prstGeom prst="blockArc">
            <a:avLst>
              <a:gd name="adj1" fmla="val 10807653"/>
              <a:gd name="adj2" fmla="val 22794"/>
              <a:gd name="adj3" fmla="val 5963"/>
            </a:avLst>
          </a:prstGeom>
          <a:pattFill prst="pct75">
            <a:fgClr>
              <a:srgbClr val="196B24"/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689420E-7FCA-09A4-D486-A9E615B573DA}"/>
              </a:ext>
            </a:extLst>
          </p:cNvPr>
          <p:cNvGrpSpPr/>
          <p:nvPr/>
        </p:nvGrpSpPr>
        <p:grpSpPr>
          <a:xfrm>
            <a:off x="5481506" y="194877"/>
            <a:ext cx="1261893" cy="883561"/>
            <a:chOff x="6664796" y="2023624"/>
            <a:chExt cx="1261893" cy="883561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7938179-5846-61B3-7535-A8CF8CCBA6AE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FF3253EC-7019-A038-62CD-30A8B74475BC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Monitoring</a:t>
              </a: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E0D4E1A-839E-42B8-F1E6-0756757F2E3B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A4608EF-28F5-418B-2EAF-79CAC80FB545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897C467-EBAF-C541-C3C9-29E86151AD53}"/>
              </a:ext>
            </a:extLst>
          </p:cNvPr>
          <p:cNvGrpSpPr/>
          <p:nvPr/>
        </p:nvGrpSpPr>
        <p:grpSpPr>
          <a:xfrm>
            <a:off x="4318267" y="808438"/>
            <a:ext cx="540000" cy="540000"/>
            <a:chOff x="4266847" y="2845340"/>
            <a:chExt cx="758757" cy="758757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262004F2-CAA0-E72B-2979-C4D3C070202F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9" name="Grafik 18" descr="Schachtel mit einfarbiger Füllung">
              <a:extLst>
                <a:ext uri="{FF2B5EF4-FFF2-40B4-BE49-F238E27FC236}">
                  <a16:creationId xmlns:a16="http://schemas.microsoft.com/office/drawing/2014/main" id="{D1F31EC0-5EB7-989D-52DA-5A0E9CD3C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EE93F47-CA40-1384-FBA1-485BA458EDF1}"/>
              </a:ext>
            </a:extLst>
          </p:cNvPr>
          <p:cNvSpPr/>
          <p:nvPr/>
        </p:nvSpPr>
        <p:spPr>
          <a:xfrm>
            <a:off x="2224680" y="195707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ed Produc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777521E-478D-3BB8-3AC9-623275DD3BD5}"/>
              </a:ext>
            </a:extLst>
          </p:cNvPr>
          <p:cNvGrpSpPr/>
          <p:nvPr/>
        </p:nvGrpSpPr>
        <p:grpSpPr>
          <a:xfrm>
            <a:off x="3363005" y="1844374"/>
            <a:ext cx="540000" cy="540000"/>
            <a:chOff x="3028458" y="1890773"/>
            <a:chExt cx="758757" cy="758757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48D13BD4-7CF3-DC26-0769-62C6EBFC30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3" name="Grafik 22" descr="Uhr mit einfarbiger Füllung">
              <a:extLst>
                <a:ext uri="{FF2B5EF4-FFF2-40B4-BE49-F238E27FC236}">
                  <a16:creationId xmlns:a16="http://schemas.microsoft.com/office/drawing/2014/main" id="{E25CA16D-7A67-C85B-56DF-0E91E62E7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6DA03A2C-013C-12DF-B58B-8D546D5D618E}"/>
              </a:ext>
            </a:extLst>
          </p:cNvPr>
          <p:cNvSpPr/>
          <p:nvPr/>
        </p:nvSpPr>
        <p:spPr>
          <a:xfrm>
            <a:off x="3166965" y="5808233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66E1E02-0783-68D6-EBC0-96C653C5D148}"/>
              </a:ext>
            </a:extLst>
          </p:cNvPr>
          <p:cNvGrpSpPr/>
          <p:nvPr/>
        </p:nvGrpSpPr>
        <p:grpSpPr>
          <a:xfrm>
            <a:off x="4251736" y="5458232"/>
            <a:ext cx="540000" cy="540000"/>
            <a:chOff x="5845553" y="5672512"/>
            <a:chExt cx="758757" cy="758757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F3657A6E-4BC3-BD28-8A54-E694626ECA0A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27" name="Grafik 26" descr="LKW mit einfarbiger Füllung">
              <a:extLst>
                <a:ext uri="{FF2B5EF4-FFF2-40B4-BE49-F238E27FC236}">
                  <a16:creationId xmlns:a16="http://schemas.microsoft.com/office/drawing/2014/main" id="{92AB5789-F710-030B-7883-2C77753DB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58FFCBB6-8E6B-9CB9-3F6D-DA41DB666B75}"/>
              </a:ext>
            </a:extLst>
          </p:cNvPr>
          <p:cNvSpPr/>
          <p:nvPr/>
        </p:nvSpPr>
        <p:spPr>
          <a:xfrm>
            <a:off x="1907482" y="332799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19A87798-5D61-27BB-0C9B-F0CD6DF9E3E7}"/>
              </a:ext>
            </a:extLst>
          </p:cNvPr>
          <p:cNvGrpSpPr/>
          <p:nvPr/>
        </p:nvGrpSpPr>
        <p:grpSpPr>
          <a:xfrm>
            <a:off x="3057386" y="3159000"/>
            <a:ext cx="540000" cy="540000"/>
            <a:chOff x="3233412" y="3862058"/>
            <a:chExt cx="758757" cy="758757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624B5109-88D1-5A4E-D049-81CB279B7475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1" name="Grafik 30" descr="Monatskalender mit einfarbiger Füllung">
              <a:extLst>
                <a:ext uri="{FF2B5EF4-FFF2-40B4-BE49-F238E27FC236}">
                  <a16:creationId xmlns:a16="http://schemas.microsoft.com/office/drawing/2014/main" id="{DB57B761-B118-8AFA-D5E6-579484E679C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1AB508C1-0990-8385-486E-DE57BAB463CA}"/>
              </a:ext>
            </a:extLst>
          </p:cNvPr>
          <p:cNvSpPr/>
          <p:nvPr/>
        </p:nvSpPr>
        <p:spPr>
          <a:xfrm>
            <a:off x="2240238" y="4580654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11FE813-D3CF-8572-B825-2EEAD473EFF2}"/>
              </a:ext>
            </a:extLst>
          </p:cNvPr>
          <p:cNvGrpSpPr/>
          <p:nvPr/>
        </p:nvGrpSpPr>
        <p:grpSpPr>
          <a:xfrm>
            <a:off x="3358076" y="4419449"/>
            <a:ext cx="540000" cy="540000"/>
            <a:chOff x="4427954" y="5398911"/>
            <a:chExt cx="758757" cy="758757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715AA168-F4B2-34B3-6852-FC3BFEBF893C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5" name="Grafik 34" descr="Warnung mit einfarbiger Füllung">
              <a:extLst>
                <a:ext uri="{FF2B5EF4-FFF2-40B4-BE49-F238E27FC236}">
                  <a16:creationId xmlns:a16="http://schemas.microsoft.com/office/drawing/2014/main" id="{D030643E-B290-E2D1-E7AC-1D9D20B21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E2D96AC-2826-F430-69A5-9E2D065B3775}"/>
              </a:ext>
            </a:extLst>
          </p:cNvPr>
          <p:cNvGrpSpPr/>
          <p:nvPr/>
        </p:nvGrpSpPr>
        <p:grpSpPr>
          <a:xfrm>
            <a:off x="8335355" y="1844374"/>
            <a:ext cx="540000" cy="540000"/>
            <a:chOff x="3028458" y="1890773"/>
            <a:chExt cx="758757" cy="758757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6D80BB72-81AA-00BB-9ECB-21AB47BA44F3}"/>
                </a:ext>
              </a:extLst>
            </p:cNvPr>
            <p:cNvSpPr/>
            <p:nvPr/>
          </p:nvSpPr>
          <p:spPr>
            <a:xfrm>
              <a:off x="3028458" y="1890773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38" name="Grafik 37" descr="Uhr mit einfarbiger Füllung">
              <a:extLst>
                <a:ext uri="{FF2B5EF4-FFF2-40B4-BE49-F238E27FC236}">
                  <a16:creationId xmlns:a16="http://schemas.microsoft.com/office/drawing/2014/main" id="{679D2215-9433-8020-8049-5903244E7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14990" y="1983704"/>
              <a:ext cx="572897" cy="572897"/>
            </a:xfrm>
            <a:prstGeom prst="rect">
              <a:avLst/>
            </a:prstGeom>
          </p:spPr>
        </p:pic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9D64F6FC-8631-82DA-6D43-A7160752490F}"/>
              </a:ext>
            </a:extLst>
          </p:cNvPr>
          <p:cNvGrpSpPr/>
          <p:nvPr/>
        </p:nvGrpSpPr>
        <p:grpSpPr>
          <a:xfrm>
            <a:off x="8623232" y="3181195"/>
            <a:ext cx="540000" cy="540000"/>
            <a:chOff x="3233412" y="3862058"/>
            <a:chExt cx="758757" cy="758757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1704DF4D-D1FA-458F-371A-4CBB688438EC}"/>
                </a:ext>
              </a:extLst>
            </p:cNvPr>
            <p:cNvSpPr/>
            <p:nvPr/>
          </p:nvSpPr>
          <p:spPr>
            <a:xfrm>
              <a:off x="3233412" y="3862058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1" name="Grafik 40" descr="Monatskalender mit einfarbiger Füllung">
              <a:extLst>
                <a:ext uri="{FF2B5EF4-FFF2-40B4-BE49-F238E27FC236}">
                  <a16:creationId xmlns:a16="http://schemas.microsoft.com/office/drawing/2014/main" id="{41E66C53-80EA-DB0B-4655-3D1A00627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79079" y="4012836"/>
              <a:ext cx="457200" cy="457200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C9DA852-CC2B-7F55-85E8-272C0E665706}"/>
              </a:ext>
            </a:extLst>
          </p:cNvPr>
          <p:cNvGrpSpPr/>
          <p:nvPr/>
        </p:nvGrpSpPr>
        <p:grpSpPr>
          <a:xfrm>
            <a:off x="7507207" y="855310"/>
            <a:ext cx="540000" cy="540000"/>
            <a:chOff x="4266847" y="2845340"/>
            <a:chExt cx="758757" cy="758757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084E797E-E612-ACF1-9659-EA2205CBEAA9}"/>
                </a:ext>
              </a:extLst>
            </p:cNvPr>
            <p:cNvSpPr/>
            <p:nvPr/>
          </p:nvSpPr>
          <p:spPr>
            <a:xfrm>
              <a:off x="4266847" y="2845340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4" name="Grafik 43" descr="Schachtel mit einfarbiger Füllung">
              <a:extLst>
                <a:ext uri="{FF2B5EF4-FFF2-40B4-BE49-F238E27FC236}">
                  <a16:creationId xmlns:a16="http://schemas.microsoft.com/office/drawing/2014/main" id="{E49709E5-4EA5-27ED-1DF0-BBAD98103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21474" y="2899967"/>
              <a:ext cx="649502" cy="649502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0661CB-6BA4-E84A-EB0F-3F7E5EA5F857}"/>
              </a:ext>
            </a:extLst>
          </p:cNvPr>
          <p:cNvGrpSpPr/>
          <p:nvPr/>
        </p:nvGrpSpPr>
        <p:grpSpPr>
          <a:xfrm>
            <a:off x="8323295" y="4425477"/>
            <a:ext cx="540000" cy="540000"/>
            <a:chOff x="4427954" y="5398911"/>
            <a:chExt cx="758757" cy="758757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FFA8CBD3-8B15-F7C8-3513-C9BD2F07CD87}"/>
                </a:ext>
              </a:extLst>
            </p:cNvPr>
            <p:cNvSpPr/>
            <p:nvPr/>
          </p:nvSpPr>
          <p:spPr>
            <a:xfrm>
              <a:off x="4427954" y="5398911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47" name="Grafik 46" descr="Warnung mit einfarbiger Füllung">
              <a:extLst>
                <a:ext uri="{FF2B5EF4-FFF2-40B4-BE49-F238E27FC236}">
                  <a16:creationId xmlns:a16="http://schemas.microsoft.com/office/drawing/2014/main" id="{411F10BD-2B7D-1491-BACA-577A4682ED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31791" y="5462011"/>
              <a:ext cx="551080" cy="551080"/>
            </a:xfrm>
            <a:prstGeom prst="rect">
              <a:avLst/>
            </a:prstGeom>
          </p:spPr>
        </p:pic>
      </p:grpSp>
      <p:pic>
        <p:nvPicPr>
          <p:cNvPr id="48" name="Grafik 47" descr="Geld mit einfarbiger Füllung">
            <a:extLst>
              <a:ext uri="{FF2B5EF4-FFF2-40B4-BE49-F238E27FC236}">
                <a16:creationId xmlns:a16="http://schemas.microsoft.com/office/drawing/2014/main" id="{894AFFD3-0C4F-3E6C-A28B-8BEC7E0EB63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04846" y="1389221"/>
            <a:ext cx="252731" cy="252731"/>
          </a:xfrm>
          <a:prstGeom prst="rect">
            <a:avLst/>
          </a:prstGeom>
        </p:spPr>
      </p:pic>
      <p:pic>
        <p:nvPicPr>
          <p:cNvPr id="49" name="Grafik 48" descr="Benutzer mit einfarbiger Füllung">
            <a:extLst>
              <a:ext uri="{FF2B5EF4-FFF2-40B4-BE49-F238E27FC236}">
                <a16:creationId xmlns:a16="http://schemas.microsoft.com/office/drawing/2014/main" id="{B7873884-C76E-D7FC-C900-59F9698F062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859299" y="4050351"/>
            <a:ext cx="304301" cy="304301"/>
          </a:xfrm>
          <a:prstGeom prst="rect">
            <a:avLst/>
          </a:prstGeom>
        </p:spPr>
      </p:pic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A614A98F-8F7A-420C-D90F-2ED962026957}"/>
              </a:ext>
            </a:extLst>
          </p:cNvPr>
          <p:cNvGrpSpPr/>
          <p:nvPr/>
        </p:nvGrpSpPr>
        <p:grpSpPr>
          <a:xfrm>
            <a:off x="7418515" y="5458232"/>
            <a:ext cx="540000" cy="540000"/>
            <a:chOff x="5845553" y="5672512"/>
            <a:chExt cx="758757" cy="758757"/>
          </a:xfrm>
        </p:grpSpPr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D800A3E2-978A-3C5C-622B-F11BE1A33CD0}"/>
                </a:ext>
              </a:extLst>
            </p:cNvPr>
            <p:cNvSpPr/>
            <p:nvPr/>
          </p:nvSpPr>
          <p:spPr>
            <a:xfrm>
              <a:off x="5845553" y="5672512"/>
              <a:ext cx="758757" cy="758757"/>
            </a:xfrm>
            <a:prstGeom prst="ellipse">
              <a:avLst/>
            </a:prstGeom>
            <a:solidFill>
              <a:srgbClr val="196B24">
                <a:lumMod val="50000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52" name="Grafik 51" descr="LKW mit einfarbiger Füllung">
              <a:extLst>
                <a:ext uri="{FF2B5EF4-FFF2-40B4-BE49-F238E27FC236}">
                  <a16:creationId xmlns:a16="http://schemas.microsoft.com/office/drawing/2014/main" id="{15C87C3A-4234-A90C-960F-41839EC8B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96330" y="5832321"/>
              <a:ext cx="457200" cy="4572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4EA50AD-9C7D-7EE2-CD29-7FBEE7842598}"/>
              </a:ext>
            </a:extLst>
          </p:cNvPr>
          <p:cNvGrpSpPr/>
          <p:nvPr/>
        </p:nvGrpSpPr>
        <p:grpSpPr>
          <a:xfrm>
            <a:off x="5456106" y="5734659"/>
            <a:ext cx="1261893" cy="883561"/>
            <a:chOff x="6664796" y="2023624"/>
            <a:chExt cx="1261893" cy="883561"/>
          </a:xfrm>
        </p:grpSpPr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6967E60F-83F4-63B4-0EC2-0EE47AAC4E51}"/>
                </a:ext>
              </a:extLst>
            </p:cNvPr>
            <p:cNvSpPr/>
            <p:nvPr/>
          </p:nvSpPr>
          <p:spPr>
            <a:xfrm>
              <a:off x="6664796" y="2023624"/>
              <a:ext cx="1261893" cy="883561"/>
            </a:xfrm>
            <a:custGeom>
              <a:avLst/>
              <a:gdLst>
                <a:gd name="connsiteX0" fmla="*/ 1198799 w 1261893"/>
                <a:gd name="connsiteY0" fmla="*/ 0 h 883561"/>
                <a:gd name="connsiteX1" fmla="*/ 63095 w 1261893"/>
                <a:gd name="connsiteY1" fmla="*/ 0 h 883561"/>
                <a:gd name="connsiteX2" fmla="*/ 0 w 1261893"/>
                <a:gd name="connsiteY2" fmla="*/ 63095 h 883561"/>
                <a:gd name="connsiteX3" fmla="*/ 0 w 1261893"/>
                <a:gd name="connsiteY3" fmla="*/ 820467 h 883561"/>
                <a:gd name="connsiteX4" fmla="*/ 63095 w 1261893"/>
                <a:gd name="connsiteY4" fmla="*/ 883562 h 883561"/>
                <a:gd name="connsiteX5" fmla="*/ 1198799 w 1261893"/>
                <a:gd name="connsiteY5" fmla="*/ 883562 h 883561"/>
                <a:gd name="connsiteX6" fmla="*/ 1261893 w 1261893"/>
                <a:gd name="connsiteY6" fmla="*/ 820467 h 883561"/>
                <a:gd name="connsiteX7" fmla="*/ 1261893 w 1261893"/>
                <a:gd name="connsiteY7" fmla="*/ 63126 h 883561"/>
                <a:gd name="connsiteX8" fmla="*/ 1198799 w 1261893"/>
                <a:gd name="connsiteY8" fmla="*/ 0 h 883561"/>
                <a:gd name="connsiteX9" fmla="*/ 1230346 w 1261893"/>
                <a:gd name="connsiteY9" fmla="*/ 820467 h 883561"/>
                <a:gd name="connsiteX10" fmla="*/ 1198799 w 1261893"/>
                <a:gd name="connsiteY10" fmla="*/ 852015 h 883561"/>
                <a:gd name="connsiteX11" fmla="*/ 63095 w 1261893"/>
                <a:gd name="connsiteY11" fmla="*/ 852015 h 883561"/>
                <a:gd name="connsiteX12" fmla="*/ 31547 w 1261893"/>
                <a:gd name="connsiteY12" fmla="*/ 820467 h 883561"/>
                <a:gd name="connsiteX13" fmla="*/ 31547 w 1261893"/>
                <a:gd name="connsiteY13" fmla="*/ 63126 h 883561"/>
                <a:gd name="connsiteX14" fmla="*/ 63095 w 1261893"/>
                <a:gd name="connsiteY14" fmla="*/ 31579 h 883561"/>
                <a:gd name="connsiteX15" fmla="*/ 1198799 w 1261893"/>
                <a:gd name="connsiteY15" fmla="*/ 31579 h 883561"/>
                <a:gd name="connsiteX16" fmla="*/ 1230346 w 1261893"/>
                <a:gd name="connsiteY16" fmla="*/ 63126 h 883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61893" h="883561">
                  <a:moveTo>
                    <a:pt x="1198799" y="0"/>
                  </a:moveTo>
                  <a:lnTo>
                    <a:pt x="63095" y="0"/>
                  </a:lnTo>
                  <a:cubicBezTo>
                    <a:pt x="28295" y="112"/>
                    <a:pt x="113" y="28295"/>
                    <a:pt x="0" y="63095"/>
                  </a:cubicBezTo>
                  <a:lnTo>
                    <a:pt x="0" y="820467"/>
                  </a:lnTo>
                  <a:cubicBezTo>
                    <a:pt x="104" y="855270"/>
                    <a:pt x="28292" y="883458"/>
                    <a:pt x="63095" y="883562"/>
                  </a:cubicBezTo>
                  <a:lnTo>
                    <a:pt x="1198799" y="883562"/>
                  </a:lnTo>
                  <a:cubicBezTo>
                    <a:pt x="1233602" y="883458"/>
                    <a:pt x="1261789" y="855270"/>
                    <a:pt x="1261893" y="820467"/>
                  </a:cubicBezTo>
                  <a:lnTo>
                    <a:pt x="1261893" y="63126"/>
                  </a:lnTo>
                  <a:cubicBezTo>
                    <a:pt x="1261799" y="28314"/>
                    <a:pt x="1233611" y="112"/>
                    <a:pt x="1198799" y="0"/>
                  </a:cubicBezTo>
                  <a:close/>
                  <a:moveTo>
                    <a:pt x="1230346" y="820467"/>
                  </a:moveTo>
                  <a:cubicBezTo>
                    <a:pt x="1230346" y="837891"/>
                    <a:pt x="1216222" y="852015"/>
                    <a:pt x="1198799" y="852015"/>
                  </a:cubicBezTo>
                  <a:lnTo>
                    <a:pt x="63095" y="852015"/>
                  </a:lnTo>
                  <a:cubicBezTo>
                    <a:pt x="45671" y="852015"/>
                    <a:pt x="31547" y="837891"/>
                    <a:pt x="31547" y="820467"/>
                  </a:cubicBezTo>
                  <a:lnTo>
                    <a:pt x="31547" y="63126"/>
                  </a:lnTo>
                  <a:cubicBezTo>
                    <a:pt x="31547" y="45703"/>
                    <a:pt x="45671" y="31579"/>
                    <a:pt x="63095" y="31579"/>
                  </a:cubicBezTo>
                  <a:lnTo>
                    <a:pt x="1198799" y="31579"/>
                  </a:lnTo>
                  <a:cubicBezTo>
                    <a:pt x="1216222" y="31579"/>
                    <a:pt x="1230346" y="45703"/>
                    <a:pt x="1230346" y="63126"/>
                  </a:cubicBezTo>
                  <a:close/>
                </a:path>
              </a:pathLst>
            </a:custGeom>
            <a:solidFill>
              <a:srgbClr val="000000"/>
            </a:solidFill>
            <a:ln w="156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</a:endParaRPr>
            </a:p>
          </p:txBody>
        </p:sp>
        <p:sp>
          <p:nvSpPr>
            <p:cNvPr id="55" name="Rechteck: abgerundete Ecken 54">
              <a:extLst>
                <a:ext uri="{FF2B5EF4-FFF2-40B4-BE49-F238E27FC236}">
                  <a16:creationId xmlns:a16="http://schemas.microsoft.com/office/drawing/2014/main" id="{F1F4F24F-C69C-ECE3-6330-68DF09417A21}"/>
                </a:ext>
              </a:extLst>
            </p:cNvPr>
            <p:cNvSpPr/>
            <p:nvPr/>
          </p:nvSpPr>
          <p:spPr>
            <a:xfrm>
              <a:off x="6727825" y="2085975"/>
              <a:ext cx="1127125" cy="752475"/>
            </a:xfrm>
            <a:prstGeom prst="roundRect">
              <a:avLst>
                <a:gd name="adj" fmla="val 4853"/>
              </a:avLst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Shortage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" panose="02110004020202020204"/>
                  <a:ea typeface="+mn-ea"/>
                  <a:cs typeface="+mn-cs"/>
                </a:rPr>
                <a:t> Managemen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E9279C14-A3AD-B8F0-7F33-687147CAB4E9}"/>
                </a:ext>
              </a:extLst>
            </p:cNvPr>
            <p:cNvSpPr/>
            <p:nvPr/>
          </p:nvSpPr>
          <p:spPr>
            <a:xfrm>
              <a:off x="6778625" y="2133600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7C53429C-C89D-218A-1361-61E69D4867B1}"/>
                </a:ext>
              </a:extLst>
            </p:cNvPr>
            <p:cNvSpPr/>
            <p:nvPr/>
          </p:nvSpPr>
          <p:spPr>
            <a:xfrm>
              <a:off x="6778625" y="2695575"/>
              <a:ext cx="1019175" cy="79375"/>
            </a:xfrm>
            <a:prstGeom prst="rect">
              <a:avLst/>
            </a:prstGeom>
            <a:solidFill>
              <a:srgbClr val="0E2841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58" name="Ellipse 57">
            <a:extLst>
              <a:ext uri="{FF2B5EF4-FFF2-40B4-BE49-F238E27FC236}">
                <a16:creationId xmlns:a16="http://schemas.microsoft.com/office/drawing/2014/main" id="{54C8BB6C-876A-7AD0-D972-BA33A204451F}"/>
              </a:ext>
            </a:extLst>
          </p:cNvPr>
          <p:cNvSpPr/>
          <p:nvPr/>
        </p:nvSpPr>
        <p:spPr>
          <a:xfrm>
            <a:off x="5207255" y="2531494"/>
            <a:ext cx="1795012" cy="1795012"/>
          </a:xfrm>
          <a:prstGeom prst="ellipse">
            <a:avLst/>
          </a:prstGeom>
          <a:solidFill>
            <a:srgbClr val="E8E8E8">
              <a:lumMod val="25000"/>
            </a:srgbClr>
          </a:solidFill>
          <a:ln w="571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ustful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llaboration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6FC237BD-B6BE-3F6B-B6CE-D171B239578E}"/>
              </a:ext>
            </a:extLst>
          </p:cNvPr>
          <p:cNvSpPr txBox="1"/>
          <p:nvPr/>
        </p:nvSpPr>
        <p:spPr>
          <a:xfrm>
            <a:off x="6098742" y="1435160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DB96172B-FF7D-4FEA-C7DA-53194DA91297}"/>
              </a:ext>
            </a:extLst>
          </p:cNvPr>
          <p:cNvSpPr txBox="1"/>
          <p:nvPr/>
        </p:nvSpPr>
        <p:spPr>
          <a:xfrm>
            <a:off x="4926175" y="127939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educed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risks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1" name="Pfeil: nach rechts 60">
            <a:extLst>
              <a:ext uri="{FF2B5EF4-FFF2-40B4-BE49-F238E27FC236}">
                <a16:creationId xmlns:a16="http://schemas.microsoft.com/office/drawing/2014/main" id="{05286164-7708-40F1-37FC-8F9EF9C063C5}"/>
              </a:ext>
            </a:extLst>
          </p:cNvPr>
          <p:cNvSpPr/>
          <p:nvPr/>
        </p:nvSpPr>
        <p:spPr>
          <a:xfrm rot="5400000">
            <a:off x="5393795" y="1542884"/>
            <a:ext cx="1421881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77610AB7-ACBC-3149-8547-4149100C1388}"/>
              </a:ext>
            </a:extLst>
          </p:cNvPr>
          <p:cNvSpPr txBox="1"/>
          <p:nvPr/>
        </p:nvSpPr>
        <p:spPr>
          <a:xfrm>
            <a:off x="4511989" y="1755687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mainten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4508F69D-D98D-59A2-0D32-15585E7FC6EB}"/>
              </a:ext>
            </a:extLst>
          </p:cNvPr>
          <p:cNvSpPr txBox="1"/>
          <p:nvPr/>
        </p:nvSpPr>
        <p:spPr>
          <a:xfrm>
            <a:off x="4220808" y="2259073"/>
            <a:ext cx="1261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ptimiza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production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plan 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5937CC8C-0742-B370-FF9B-5EB134354C16}"/>
              </a:ext>
            </a:extLst>
          </p:cNvPr>
          <p:cNvSpPr/>
          <p:nvPr/>
        </p:nvSpPr>
        <p:spPr>
          <a:xfrm>
            <a:off x="7418515" y="3206894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ustom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A8C393E-24BD-5C0D-4D50-94D175E860B6}"/>
              </a:ext>
            </a:extLst>
          </p:cNvPr>
          <p:cNvSpPr/>
          <p:nvPr/>
        </p:nvSpPr>
        <p:spPr>
          <a:xfrm>
            <a:off x="7475269" y="324767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6" name="Pfeil: nach rechts 65">
            <a:extLst>
              <a:ext uri="{FF2B5EF4-FFF2-40B4-BE49-F238E27FC236}">
                <a16:creationId xmlns:a16="http://schemas.microsoft.com/office/drawing/2014/main" id="{F416971B-CB96-13E6-8E08-5E1085D960A0}"/>
              </a:ext>
            </a:extLst>
          </p:cNvPr>
          <p:cNvSpPr/>
          <p:nvPr/>
        </p:nvSpPr>
        <p:spPr>
          <a:xfrm rot="10800000" flipH="1">
            <a:off x="4775274" y="3192332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C29E0DB-10F9-CCD0-B543-2128AFB7179C}"/>
              </a:ext>
            </a:extLst>
          </p:cNvPr>
          <p:cNvSpPr/>
          <p:nvPr/>
        </p:nvSpPr>
        <p:spPr>
          <a:xfrm>
            <a:off x="7472267" y="3562024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8" name="Pfeil: nach rechts 67">
            <a:extLst>
              <a:ext uri="{FF2B5EF4-FFF2-40B4-BE49-F238E27FC236}">
                <a16:creationId xmlns:a16="http://schemas.microsoft.com/office/drawing/2014/main" id="{0115C89C-6B58-422F-BCE2-C85958B1D883}"/>
              </a:ext>
            </a:extLst>
          </p:cNvPr>
          <p:cNvSpPr/>
          <p:nvPr/>
        </p:nvSpPr>
        <p:spPr>
          <a:xfrm rot="10800000">
            <a:off x="7002267" y="3204417"/>
            <a:ext cx="411442" cy="492990"/>
          </a:xfrm>
          <a:prstGeom prst="rightArrow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3A2712D9-D0E6-C31A-D57F-EBFBDE243849}"/>
              </a:ext>
            </a:extLst>
          </p:cNvPr>
          <p:cNvSpPr/>
          <p:nvPr/>
        </p:nvSpPr>
        <p:spPr>
          <a:xfrm>
            <a:off x="3658550" y="3204417"/>
            <a:ext cx="1118574" cy="461666"/>
          </a:xfrm>
          <a:prstGeom prst="roundRect">
            <a:avLst>
              <a:gd name="adj" fmla="val 4853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upplier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2C9DAEC-DAE5-1784-27B4-51624A8C4209}"/>
              </a:ext>
            </a:extLst>
          </p:cNvPr>
          <p:cNvSpPr/>
          <p:nvPr/>
        </p:nvSpPr>
        <p:spPr>
          <a:xfrm>
            <a:off x="3715304" y="3245200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1349B34-A15A-A16A-6716-0ADB914C0462}"/>
              </a:ext>
            </a:extLst>
          </p:cNvPr>
          <p:cNvSpPr/>
          <p:nvPr/>
        </p:nvSpPr>
        <p:spPr>
          <a:xfrm>
            <a:off x="3712302" y="3559547"/>
            <a:ext cx="1019175" cy="793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2" name="Grafik 71" descr="Geld mit einfarbiger Füllung">
            <a:extLst>
              <a:ext uri="{FF2B5EF4-FFF2-40B4-BE49-F238E27FC236}">
                <a16:creationId xmlns:a16="http://schemas.microsoft.com/office/drawing/2014/main" id="{27A6FEBA-A6EF-32DE-74CA-CFCE95E83DD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01140" y="1873759"/>
            <a:ext cx="252731" cy="252731"/>
          </a:xfrm>
          <a:prstGeom prst="rect">
            <a:avLst/>
          </a:prstGeom>
        </p:spPr>
      </p:pic>
      <p:pic>
        <p:nvPicPr>
          <p:cNvPr id="73" name="Grafik 72" descr="Geld mit einfarbiger Füllung">
            <a:extLst>
              <a:ext uri="{FF2B5EF4-FFF2-40B4-BE49-F238E27FC236}">
                <a16:creationId xmlns:a16="http://schemas.microsoft.com/office/drawing/2014/main" id="{FD397C86-1747-63AB-A066-FB445FCDE4C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56194" y="2348229"/>
            <a:ext cx="252731" cy="252731"/>
          </a:xfrm>
          <a:prstGeom prst="rect">
            <a:avLst/>
          </a:prstGeom>
        </p:spPr>
      </p:pic>
      <p:pic>
        <p:nvPicPr>
          <p:cNvPr id="74" name="Grafik 73" descr="Geld mit einfarbiger Füllung">
            <a:extLst>
              <a:ext uri="{FF2B5EF4-FFF2-40B4-BE49-F238E27FC236}">
                <a16:creationId xmlns:a16="http://schemas.microsoft.com/office/drawing/2014/main" id="{0AAA23BC-72BC-AD05-3CE6-DE009C2B486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71828" y="1573325"/>
            <a:ext cx="252731" cy="252731"/>
          </a:xfrm>
          <a:prstGeom prst="rect">
            <a:avLst/>
          </a:prstGeom>
        </p:spPr>
      </p:pic>
      <p:sp>
        <p:nvSpPr>
          <p:cNvPr id="75" name="Textfeld 74">
            <a:extLst>
              <a:ext uri="{FF2B5EF4-FFF2-40B4-BE49-F238E27FC236}">
                <a16:creationId xmlns:a16="http://schemas.microsoft.com/office/drawing/2014/main" id="{3E4ACA31-AB48-24E8-CB6E-3D2703E55A69}"/>
              </a:ext>
            </a:extLst>
          </p:cNvPr>
          <p:cNvSpPr txBox="1"/>
          <p:nvPr/>
        </p:nvSpPr>
        <p:spPr>
          <a:xfrm>
            <a:off x="4101591" y="398979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B8AF770-065C-ACA9-C28D-93B509AC0A33}"/>
              </a:ext>
            </a:extLst>
          </p:cNvPr>
          <p:cNvSpPr txBox="1"/>
          <p:nvPr/>
        </p:nvSpPr>
        <p:spPr>
          <a:xfrm>
            <a:off x="4649213" y="4812207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77" name="Grafik 76" descr="Geld mit einfarbiger Füllung">
            <a:extLst>
              <a:ext uri="{FF2B5EF4-FFF2-40B4-BE49-F238E27FC236}">
                <a16:creationId xmlns:a16="http://schemas.microsoft.com/office/drawing/2014/main" id="{829953A8-BF3E-1A93-646E-09C6FA428E7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52376" y="4914228"/>
            <a:ext cx="252731" cy="252731"/>
          </a:xfrm>
          <a:prstGeom prst="rect">
            <a:avLst/>
          </a:prstGeom>
        </p:spPr>
      </p:pic>
      <p:sp>
        <p:nvSpPr>
          <p:cNvPr id="78" name="Textfeld 77">
            <a:extLst>
              <a:ext uri="{FF2B5EF4-FFF2-40B4-BE49-F238E27FC236}">
                <a16:creationId xmlns:a16="http://schemas.microsoft.com/office/drawing/2014/main" id="{27C34335-8C29-F7F9-F43D-D41110A0CBDA}"/>
              </a:ext>
            </a:extLst>
          </p:cNvPr>
          <p:cNvSpPr txBox="1"/>
          <p:nvPr/>
        </p:nvSpPr>
        <p:spPr>
          <a:xfrm>
            <a:off x="4069274" y="2823700"/>
            <a:ext cx="12618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Trend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detection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79" name="Grafik 78" descr="Lupe mit einfarbiger Füllung">
            <a:extLst>
              <a:ext uri="{FF2B5EF4-FFF2-40B4-BE49-F238E27FC236}">
                <a16:creationId xmlns:a16="http://schemas.microsoft.com/office/drawing/2014/main" id="{2E5B6BEE-D850-0466-1A48-743B4D3508C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822128" y="2839031"/>
            <a:ext cx="256780" cy="256780"/>
          </a:xfrm>
          <a:prstGeom prst="rect">
            <a:avLst/>
          </a:prstGeom>
        </p:spPr>
      </p:pic>
      <p:sp>
        <p:nvSpPr>
          <p:cNvPr id="80" name="Rechteck: abgerundete Ecken 79">
            <a:extLst>
              <a:ext uri="{FF2B5EF4-FFF2-40B4-BE49-F238E27FC236}">
                <a16:creationId xmlns:a16="http://schemas.microsoft.com/office/drawing/2014/main" id="{91E063DA-BCB0-62D8-682E-F00FC53D83B8}"/>
              </a:ext>
            </a:extLst>
          </p:cNvPr>
          <p:cNvSpPr/>
          <p:nvPr/>
        </p:nvSpPr>
        <p:spPr>
          <a:xfrm>
            <a:off x="3224091" y="748579"/>
            <a:ext cx="1012140" cy="231553"/>
          </a:xfrm>
          <a:prstGeom prst="round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1" name="Rechteck: abgerundete Ecken 80">
            <a:extLst>
              <a:ext uri="{FF2B5EF4-FFF2-40B4-BE49-F238E27FC236}">
                <a16:creationId xmlns:a16="http://schemas.microsoft.com/office/drawing/2014/main" id="{F78740BF-ED6A-9F74-43AA-B95D6F27A4B7}"/>
              </a:ext>
            </a:extLst>
          </p:cNvPr>
          <p:cNvSpPr/>
          <p:nvPr/>
        </p:nvSpPr>
        <p:spPr>
          <a:xfrm>
            <a:off x="8969185" y="1942908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lanned Produc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utpu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Rechteck: abgerundete Ecken 81">
            <a:extLst>
              <a:ext uri="{FF2B5EF4-FFF2-40B4-BE49-F238E27FC236}">
                <a16:creationId xmlns:a16="http://schemas.microsoft.com/office/drawing/2014/main" id="{F52F54CF-E222-C85F-F31E-E00C76F60467}"/>
              </a:ext>
            </a:extLst>
          </p:cNvPr>
          <p:cNvSpPr/>
          <p:nvPr/>
        </p:nvSpPr>
        <p:spPr>
          <a:xfrm>
            <a:off x="8004957" y="58047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elivery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Inform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3" name="Rechteck: abgerundete Ecken 82">
            <a:extLst>
              <a:ext uri="{FF2B5EF4-FFF2-40B4-BE49-F238E27FC236}">
                <a16:creationId xmlns:a16="http://schemas.microsoft.com/office/drawing/2014/main" id="{595AAE9F-6F9A-09DF-F39C-5CC7AB9AE443}"/>
              </a:ext>
            </a:extLst>
          </p:cNvPr>
          <p:cNvSpPr/>
          <p:nvPr/>
        </p:nvSpPr>
        <p:spPr>
          <a:xfrm>
            <a:off x="9249375" y="3335135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ys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f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Suppl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4" name="Rechteck: abgerundete Ecken 83">
            <a:extLst>
              <a:ext uri="{FF2B5EF4-FFF2-40B4-BE49-F238E27FC236}">
                <a16:creationId xmlns:a16="http://schemas.microsoft.com/office/drawing/2014/main" id="{B6FBC746-86E1-C97B-7158-5EF767C16350}"/>
              </a:ext>
            </a:extLst>
          </p:cNvPr>
          <p:cNvSpPr/>
          <p:nvPr/>
        </p:nvSpPr>
        <p:spPr>
          <a:xfrm>
            <a:off x="8932561" y="4646952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C Disruption </a:t>
            </a: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tific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869A297B-13C1-7E9A-D6B1-3328FC391B6E}"/>
              </a:ext>
            </a:extLst>
          </p:cNvPr>
          <p:cNvSpPr/>
          <p:nvPr/>
        </p:nvSpPr>
        <p:spPr>
          <a:xfrm>
            <a:off x="8069058" y="717219"/>
            <a:ext cx="1012140" cy="231553"/>
          </a:xfrm>
          <a:prstGeom prst="roundRect">
            <a:avLst/>
          </a:prstGeom>
          <a:solidFill>
            <a:srgbClr val="196B24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tem Stock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D72AFA51-48FB-42EA-296B-A1AEFFACDE0B}"/>
              </a:ext>
            </a:extLst>
          </p:cNvPr>
          <p:cNvSpPr txBox="1"/>
          <p:nvPr/>
        </p:nvSpPr>
        <p:spPr>
          <a:xfrm>
            <a:off x="6605153" y="3996144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Efficien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shortag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handling</a:t>
            </a:r>
            <a:endParaRPr lang="de-DE" sz="1200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11361E9E-CAC1-2F34-78BB-D5CB18A1427A}"/>
              </a:ext>
            </a:extLst>
          </p:cNvPr>
          <p:cNvSpPr txBox="1"/>
          <p:nvPr/>
        </p:nvSpPr>
        <p:spPr>
          <a:xfrm>
            <a:off x="6121557" y="4803143"/>
            <a:ext cx="1483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Avoidance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of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extra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transport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  <a:r>
              <a:rPr lang="de-DE" sz="1200" dirty="0" err="1">
                <a:solidFill>
                  <a:prstClr val="white"/>
                </a:solidFill>
                <a:latin typeface="Aptos" panose="02110004020202020204"/>
              </a:rPr>
              <a:t>costs</a:t>
            </a:r>
            <a:r>
              <a:rPr lang="de-DE" sz="1200" dirty="0">
                <a:solidFill>
                  <a:prstClr val="white"/>
                </a:solidFill>
                <a:latin typeface="Aptos" panose="02110004020202020204"/>
              </a:rPr>
              <a:t> </a:t>
            </a:r>
          </a:p>
        </p:txBody>
      </p:sp>
      <p:pic>
        <p:nvPicPr>
          <p:cNvPr id="88" name="Grafik 87" descr="Benutzer mit einfarbiger Füllung">
            <a:extLst>
              <a:ext uri="{FF2B5EF4-FFF2-40B4-BE49-F238E27FC236}">
                <a16:creationId xmlns:a16="http://schemas.microsoft.com/office/drawing/2014/main" id="{167C5F46-CB95-05BD-B895-FF1E051F34F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17275" y="4067713"/>
            <a:ext cx="304301" cy="304301"/>
          </a:xfrm>
          <a:prstGeom prst="rect">
            <a:avLst/>
          </a:prstGeom>
        </p:spPr>
      </p:pic>
      <p:pic>
        <p:nvPicPr>
          <p:cNvPr id="89" name="Grafik 88" descr="Geld mit einfarbiger Füllung">
            <a:extLst>
              <a:ext uri="{FF2B5EF4-FFF2-40B4-BE49-F238E27FC236}">
                <a16:creationId xmlns:a16="http://schemas.microsoft.com/office/drawing/2014/main" id="{AE290505-6FFC-8D93-D0D1-D0062B16CD8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47362" y="4880479"/>
            <a:ext cx="252731" cy="252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87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Catena-X">
      <a:dk1>
        <a:srgbClr val="000000"/>
      </a:dk1>
      <a:lt1>
        <a:sysClr val="window" lastClr="FFFFFF"/>
      </a:lt1>
      <a:dk2>
        <a:srgbClr val="595959"/>
      </a:dk2>
      <a:lt2>
        <a:srgbClr val="E1E3DD"/>
      </a:lt2>
      <a:accent1>
        <a:srgbClr val="FFA600"/>
      </a:accent1>
      <a:accent2>
        <a:srgbClr val="B3CB2D"/>
      </a:accent2>
      <a:accent3>
        <a:srgbClr val="A5A5A5"/>
      </a:accent3>
      <a:accent4>
        <a:srgbClr val="FFCA21"/>
      </a:accent4>
      <a:accent5>
        <a:srgbClr val="046B99"/>
      </a:accent5>
      <a:accent6>
        <a:srgbClr val="D91E18"/>
      </a:accent6>
      <a:hlink>
        <a:srgbClr val="595959"/>
      </a:hlink>
      <a:folHlink>
        <a:srgbClr val="5959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vert="horz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smtClean="0">
            <a:solidFill>
              <a:schemeClr val="tx1">
                <a:lumMod val="65000"/>
                <a:lumOff val="35000"/>
              </a:schemeClr>
            </a:solidFill>
            <a:latin typeface="Manrope Light" pitchFamily="2" charset="0"/>
            <a:cs typeface="Arial" panose="020B0604020202020204" pitchFamily="34" charset="0"/>
          </a:defRPr>
        </a:defPPr>
      </a:lstStyle>
    </a:spDef>
    <a:txDef>
      <a:spPr/>
      <a:bodyPr vert="horz" wrap="squar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err="1" smtClean="0">
            <a:solidFill>
              <a:schemeClr val="tx2"/>
            </a:solidFill>
            <a:latin typeface="Manrope Light" pitchFamily="2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ta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0614_Vorstandssitzung.potx  -  Schreibgeschützt" id="{B593271D-5FF3-41A6-8C32-A2D4767316FA}" vid="{AE5176B4-FF0B-4E79-939B-BC5FF58324E2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6E25DC8F4D148870DE0276C8F9E99" ma:contentTypeVersion="28" ma:contentTypeDescription="Create a new document." ma:contentTypeScope="" ma:versionID="6b3e17e531c5efd9068122f8235c29a7">
  <xsd:schema xmlns:xsd="http://www.w3.org/2001/XMLSchema" xmlns:xs="http://www.w3.org/2001/XMLSchema" xmlns:p="http://schemas.microsoft.com/office/2006/metadata/properties" xmlns:ns1="http://schemas.microsoft.com/sharepoint/v3" xmlns:ns2="fc282b16-8a95-47e2-a36d-6db0797e13f9" xmlns:ns3="b901e847-c49e-4a70-b8e5-61de17bb0deb" targetNamespace="http://schemas.microsoft.com/office/2006/metadata/properties" ma:root="true" ma:fieldsID="d4b5a28567302f7c0b85f6c978d12020" ns1:_="" ns2:_="" ns3:_="">
    <xsd:import namespace="http://schemas.microsoft.com/sharepoint/v3"/>
    <xsd:import namespace="fc282b16-8a95-47e2-a36d-6db0797e13f9"/>
    <xsd:import namespace="b901e847-c49e-4a70-b8e5-61de17bb0deb"/>
    <xsd:element name="properties">
      <xsd:complexType>
        <xsd:sequence>
          <xsd:element name="documentManagement">
            <xsd:complexType>
              <xsd:all>
                <xsd:element ref="ns2:nf3ac9c7cfb249dcb2baa9568b4c2f7b" minOccurs="0"/>
                <xsd:element ref="ns2:TaxCatchAll" minOccurs="0"/>
                <xsd:element ref="ns2:TaxCatchAllLabel" minOccurs="0"/>
                <xsd:element ref="ns2:i0f84bba906045b4af568ee102a52dcb" minOccurs="0"/>
                <xsd:element ref="ns2:RevIMDeletionDate" minOccurs="0"/>
                <xsd:element ref="ns2:RevIMEventDate" minOccurs="0"/>
                <xsd:element ref="ns2:RevIMComments" minOccurs="0"/>
                <xsd:element ref="ns2:RevIMDocumentOwner" minOccurs="0"/>
                <xsd:element ref="ns2:RevIMExtend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2:SharedWithUsers" minOccurs="0"/>
                <xsd:element ref="ns2:SharedWithDetails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ObjectDetectorVersions" minOccurs="0"/>
                <xsd:element ref="ns3:MediaServiceSearchProperties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3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3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282b16-8a95-47e2-a36d-6db0797e13f9" elementFormDefault="qualified">
    <xsd:import namespace="http://schemas.microsoft.com/office/2006/documentManagement/types"/>
    <xsd:import namespace="http://schemas.microsoft.com/office/infopath/2007/PartnerControls"/>
    <xsd:element name="nf3ac9c7cfb249dcb2baa9568b4c2f7b" ma:index="8" nillable="true" ma:taxonomy="true" ma:internalName="nf3ac9c7cfb249dcb2baa9568b4c2f7b" ma:taxonomyFieldName="LegalHoldTag" ma:displayName="LegalHold" ma:fieldId="{7f3ac9c7-cfb2-49dc-b2ba-a9568b4c2f7b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b8f366f2-1531-452b-be5e-a106adb744dc}" ma:internalName="TaxCatchAll" ma:showField="CatchAllData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b8f366f2-1531-452b-be5e-a106adb744dc}" ma:internalName="TaxCatchAllLabel" ma:readOnly="true" ma:showField="CatchAllDataLabel" ma:web="fc282b16-8a95-47e2-a36d-6db0797e13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3" nillable="true" ma:taxonomy="true" ma:internalName="i0f84bba906045b4af568ee102a52dcb" ma:taxonomyFieldName="RevIMBCS" ma:displayName="CSD Class" ma:readOnly="true" ma:default="21;#1.3 Beihilfen|1c334e7e-65da-4ad2-94e7-f1bc23bafcb8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4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5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6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7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18" nillable="true" ma:displayName="RevIMExtends" ma:hidden="true" ma:internalName="RevIMExtends" ma:readOnly="true">
      <xsd:simpleType>
        <xsd:restriction base="dms:Note"/>
      </xsd:simpleType>
    </xsd:element>
    <xsd:element name="SharedWithUsers" ma:index="2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01e847-c49e-4a70-b8e5-61de17bb0d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1" nillable="true" ma:displayName="Tags" ma:internalName="MediaServiceAutoTags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2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3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3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3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8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c282b16-8a95-47e2-a36d-6db0797e13f9">
      <Value>21</Value>
    </TaxCatchAll>
    <lcf76f155ced4ddcb4097134ff3c332f xmlns="b901e847-c49e-4a70-b8e5-61de17bb0deb">
      <Terms xmlns="http://schemas.microsoft.com/office/infopath/2007/PartnerControls"/>
    </lcf76f155ced4ddcb4097134ff3c332f>
    <SharedWithUsers xmlns="fc282b16-8a95-47e2-a36d-6db0797e13f9">
      <UserInfo>
        <DisplayName/>
        <AccountId xsi:nil="true"/>
        <AccountType/>
      </UserInfo>
    </SharedWithUsers>
    <_ip_UnifiedCompliancePolicyUIAction xmlns="http://schemas.microsoft.com/sharepoint/v3" xsi:nil="true"/>
    <nf3ac9c7cfb249dcb2baa9568b4c2f7b xmlns="fc282b16-8a95-47e2-a36d-6db0797e13f9">
      <Terms xmlns="http://schemas.microsoft.com/office/infopath/2007/PartnerControls"/>
    </nf3ac9c7cfb249dcb2baa9568b4c2f7b>
    <_ip_UnifiedCompliancePolicyProperties xmlns="http://schemas.microsoft.com/sharepoint/v3" xsi:nil="true"/>
    <RevIMDocumentOwner xmlns="fc282b16-8a95-47e2-a36d-6db0797e13f9">
      <UserInfo>
        <DisplayName/>
        <AccountId xsi:nil="true"/>
        <AccountType/>
      </UserInfo>
    </RevIMDocumentOwner>
    <i0f84bba906045b4af568ee102a52dcb xmlns="fc282b16-8a95-47e2-a36d-6db0797e13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1.3 Beihilfen</TermName>
          <TermId xmlns="http://schemas.microsoft.com/office/infopath/2007/PartnerControls">1c334e7e-65da-4ad2-94e7-f1bc23bafcb8</TermId>
        </TermInfo>
      </Terms>
    </i0f84bba906045b4af568ee102a52dcb>
    <RevIMComments xmlns="fc282b16-8a95-47e2-a36d-6db0797e13f9" xsi:nil="true"/>
    <RevIMDeletionDate xmlns="fc282b16-8a95-47e2-a36d-6db0797e13f9">2055-05-27T12:01:38+00:00</RevIMDeletionDate>
    <RevIMEventDate xmlns="fc282b16-8a95-47e2-a36d-6db0797e13f9" xsi:nil="true"/>
    <RevIMExtends xmlns="fc282b16-8a95-47e2-a36d-6db0797e13f9">{"Locked":null,"LockedBy":null,"UnLocked":null,"UnLockedBy":null,"Classified":"2025-05-27T12:32:23.920Z","KSUClass":"1c334e7e-65da-4ad2-94e7-f1bc23bafcb8","Reclassified":null,"ReclassifiedBy":null,"EDReclassified":null,"EDReclassifiedBy":null,"EventCreated":null,"EventModified":null,"EventDeleted":null,"EventCreatedBy":null,"EventModifiedBy":null,"EventDeletedBy":null,"Moved":null,"MovedBy":null,"MovedFrom":null}</RevIMExtends>
  </documentManagement>
</p:properties>
</file>

<file path=customXml/itemProps1.xml><?xml version="1.0" encoding="utf-8"?>
<ds:datastoreItem xmlns:ds="http://schemas.openxmlformats.org/officeDocument/2006/customXml" ds:itemID="{85CB196D-3824-4693-9D76-933D807EA6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c282b16-8a95-47e2-a36d-6db0797e13f9"/>
    <ds:schemaRef ds:uri="b901e847-c49e-4a70-b8e5-61de17bb0de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697365B-A541-4817-9130-76AA4F3B7206}">
  <ds:schemaRefs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  <ds:schemaRef ds:uri="fc282b16-8a95-47e2-a36d-6db0797e13f9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b901e847-c49e-4a70-b8e5-61de17bb0deb"/>
    <ds:schemaRef ds:uri="http://schemas.microsoft.com/sharepoint/v3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b1c9b508-7c6e-42bd-bedf-808292653d6c}" enabled="1" method="Standard" siteId="{2882be50-2012-4d88-ac86-544124e120c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87</TotalTime>
  <Words>2356</Words>
  <Application>Microsoft Macintosh PowerPoint</Application>
  <PresentationFormat>Widescreen</PresentationFormat>
  <Paragraphs>996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ptos</vt:lpstr>
      <vt:lpstr>Arial</vt:lpstr>
      <vt:lpstr>BMWGroupTN Condensed</vt:lpstr>
      <vt:lpstr>Calibri</vt:lpstr>
      <vt:lpstr>Imago Pro Light</vt:lpstr>
      <vt:lpstr>Manrope Light</vt:lpstr>
      <vt:lpstr>Segoe UI</vt:lpstr>
      <vt:lpstr>Wingdings</vt:lpstr>
      <vt:lpstr>Office</vt:lpstr>
      <vt:lpstr>Catana-X PowerPoint Master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tena-X General Presentation</dc:title>
  <dc:creator>Catena-X Automotive Network e.V.</dc:creator>
  <cp:lastModifiedBy>Zan Pirc</cp:lastModifiedBy>
  <cp:revision>4</cp:revision>
  <cp:lastPrinted>2023-02-20T07:18:22Z</cp:lastPrinted>
  <dcterms:created xsi:type="dcterms:W3CDTF">2022-05-09T07:37:59Z</dcterms:created>
  <dcterms:modified xsi:type="dcterms:W3CDTF">2025-08-19T12:5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26E25DC8F4D148870DE0276C8F9E99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  <property fmtid="{D5CDD505-2E9C-101B-9397-08002B2CF9AE}" pid="18" name="RevIMBCS">
    <vt:lpwstr>21;#1.3 Beihilfen|1c334e7e-65da-4ad2-94e7-f1bc23bafcb8</vt:lpwstr>
  </property>
  <property fmtid="{D5CDD505-2E9C-101B-9397-08002B2CF9AE}" pid="19" name="LegalHoldTag">
    <vt:lpwstr/>
  </property>
  <property fmtid="{D5CDD505-2E9C-101B-9397-08002B2CF9AE}" pid="20" name="MSIP_Label_7fac60de-59ad-46d5-88f3-f15162e80726_Enabled">
    <vt:lpwstr>true</vt:lpwstr>
  </property>
  <property fmtid="{D5CDD505-2E9C-101B-9397-08002B2CF9AE}" pid="21" name="MSIP_Label_7fac60de-59ad-46d5-88f3-f15162e80726_SetDate">
    <vt:lpwstr>2025-08-06T07:22:12Z</vt:lpwstr>
  </property>
  <property fmtid="{D5CDD505-2E9C-101B-9397-08002B2CF9AE}" pid="22" name="MSIP_Label_7fac60de-59ad-46d5-88f3-f15162e80726_Method">
    <vt:lpwstr>Standard</vt:lpwstr>
  </property>
  <property fmtid="{D5CDD505-2E9C-101B-9397-08002B2CF9AE}" pid="23" name="MSIP_Label_7fac60de-59ad-46d5-88f3-f15162e80726_Name">
    <vt:lpwstr>Public</vt:lpwstr>
  </property>
  <property fmtid="{D5CDD505-2E9C-101B-9397-08002B2CF9AE}" pid="24" name="MSIP_Label_7fac60de-59ad-46d5-88f3-f15162e80726_SiteId">
    <vt:lpwstr>a87c7421-056b-487f-a107-afa9c7fde010</vt:lpwstr>
  </property>
  <property fmtid="{D5CDD505-2E9C-101B-9397-08002B2CF9AE}" pid="25" name="MSIP_Label_7fac60de-59ad-46d5-88f3-f15162e80726_ActionId">
    <vt:lpwstr>77af05b5-33ec-40d5-bdda-39902d7edf38</vt:lpwstr>
  </property>
  <property fmtid="{D5CDD505-2E9C-101B-9397-08002B2CF9AE}" pid="26" name="MSIP_Label_7fac60de-59ad-46d5-88f3-f15162e80726_ContentBits">
    <vt:lpwstr>2</vt:lpwstr>
  </property>
  <property fmtid="{D5CDD505-2E9C-101B-9397-08002B2CF9AE}" pid="27" name="MSIP_Label_7fac60de-59ad-46d5-88f3-f15162e80726_Tag">
    <vt:lpwstr>50, 3, 0, 1</vt:lpwstr>
  </property>
  <property fmtid="{D5CDD505-2E9C-101B-9397-08002B2CF9AE}" pid="28" name="ClassificationContentMarkingFooterLocations">
    <vt:lpwstr>Office:6\Catana-X PowerPoint Master:8</vt:lpwstr>
  </property>
  <property fmtid="{D5CDD505-2E9C-101B-9397-08002B2CF9AE}" pid="29" name="ClassificationContentMarkingFooterText">
    <vt:lpwstr>Public</vt:lpwstr>
  </property>
</Properties>
</file>